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58" r:id="rId4"/>
  </p:sldMasterIdLst>
  <p:notesMasterIdLst>
    <p:notesMasterId r:id="rId6"/>
  </p:notesMasterIdLst>
  <p:handoutMasterIdLst>
    <p:handoutMasterId r:id="rId7"/>
  </p:handoutMasterIdLst>
  <p:sldIdLst>
    <p:sldId id="300" r:id="rId5"/>
  </p:sldIdLst>
  <p:sldSz cx="7772400" cy="11704638"/>
  <p:notesSz cx="6858000" cy="9296400"/>
  <p:embeddedFontLst>
    <p:embeddedFont>
      <p:font typeface="Calibri" panose="020F0502020204030204" pitchFamily="34" charset="0"/>
      <p:regular r:id="rId8"/>
      <p:bold r:id="rId9"/>
      <p:italic r:id="rId10"/>
      <p:boldItalic r:id="rId11"/>
    </p:embeddedFont>
    <p:embeddedFont>
      <p:font typeface="Segoe UI" panose="020B0502040204020203" pitchFamily="34" charset="0"/>
      <p:regular r:id="rId12"/>
      <p:bold r:id="rId13"/>
      <p:italic r:id="rId14"/>
      <p:boldItalic r:id="rId15"/>
    </p:embeddedFont>
    <p:embeddedFont>
      <p:font typeface="Segoe UI Semibold" panose="020B0702040204020203" pitchFamily="34" charset="0"/>
      <p:regular r:id="rId16"/>
      <p:bold r:id="rId17"/>
      <p:italic r:id="rId18"/>
      <p:boldItalic r:id="rId19"/>
    </p:embeddedFont>
  </p:embeddedFontLst>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C94A123-7987-4F19-8071-061A44AAAC5E}">
          <p14:sldIdLst>
            <p14:sldId id="300"/>
          </p14:sldIdLst>
        </p14:section>
      </p14:sectionLst>
    </p:ext>
    <p:ext uri="{EFAFB233-063F-42B5-8137-9DF3F51BA10A}">
      <p15:sldGuideLst xmlns:p15="http://schemas.microsoft.com/office/powerpoint/2012/main">
        <p15:guide id="10" pos="168" userDrawn="1">
          <p15:clr>
            <a:srgbClr val="A4A3A4"/>
          </p15:clr>
        </p15:guide>
        <p15:guide id="12" orient="horz" pos="223" userDrawn="1">
          <p15:clr>
            <a:srgbClr val="A4A3A4"/>
          </p15:clr>
        </p15:guide>
        <p15:guide id="14" pos="4728" userDrawn="1">
          <p15:clr>
            <a:srgbClr val="A4A3A4"/>
          </p15:clr>
        </p15:guide>
        <p15:guide id="20" orient="horz" pos="695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ss Andersen" initials="" lastIdx="1" clrIdx="0"/>
  <p:cmAuthor id="1" name="Michelle Davis" initials="MD" lastIdx="21" clrIdx="1"/>
  <p:cmAuthor id="2" name="Hanna Boyle" initials="HB" lastIdx="2" clrIdx="2"/>
  <p:cmAuthor id="3" name="Carissa Wright (Touch Worldwide)" initials="CW" lastIdx="2" clrIdx="3"/>
  <p:cmAuthor id="4" name="Brook Bower" initials="BB" lastIdx="15" clrIdx="4"/>
  <p:cmAuthor id="5" name="Gail Manuguid (LCA)" initials="GM(" lastIdx="4" clrIdx="5"/>
  <p:cmAuthor id="6" name="Joe Gura" initials="JG" lastIdx="10" clrIdx="6">
    <p:extLst>
      <p:ext uri="{19B8F6BF-5375-455C-9EA6-DF929625EA0E}">
        <p15:presenceInfo xmlns:p15="http://schemas.microsoft.com/office/powerpoint/2012/main" userId="S-1-5-21-2127521184-1604012920-1887927527-20345457" providerId="AD"/>
      </p:ext>
    </p:extLst>
  </p:cmAuthor>
  <p:cmAuthor id="7" name="Kathryn Courtney" initials="KC" lastIdx="30" clrIdx="7">
    <p:extLst>
      <p:ext uri="{19B8F6BF-5375-455C-9EA6-DF929625EA0E}">
        <p15:presenceInfo xmlns:p15="http://schemas.microsoft.com/office/powerpoint/2012/main" userId="Kathryn Courtney" providerId="None"/>
      </p:ext>
    </p:extLst>
  </p:cmAuthor>
  <p:cmAuthor id="8" name="Danielle Dargavel" initials="DD" lastIdx="15" clrIdx="8">
    <p:extLst>
      <p:ext uri="{19B8F6BF-5375-455C-9EA6-DF929625EA0E}">
        <p15:presenceInfo xmlns:p15="http://schemas.microsoft.com/office/powerpoint/2012/main" userId="Danielle Dargavel" providerId="None"/>
      </p:ext>
    </p:extLst>
  </p:cmAuthor>
  <p:cmAuthor id="9" name="Kathryn Courtney (Audienz LLC)" initials="KC(L" lastIdx="17" clrIdx="9">
    <p:extLst>
      <p:ext uri="{19B8F6BF-5375-455C-9EA6-DF929625EA0E}">
        <p15:presenceInfo xmlns:p15="http://schemas.microsoft.com/office/powerpoint/2012/main" userId="Kathryn Courtney (Audienz LLC)" providerId="None"/>
      </p:ext>
    </p:extLst>
  </p:cmAuthor>
  <p:cmAuthor id="10" name="Greg" initials="BT" lastIdx="0" clrIdx="10"/>
  <p:cmAuthor id="11" name="Travis Nesse" initials="TN" lastIdx="26" clrIdx="11">
    <p:extLst>
      <p:ext uri="{19B8F6BF-5375-455C-9EA6-DF929625EA0E}">
        <p15:presenceInfo xmlns:p15="http://schemas.microsoft.com/office/powerpoint/2012/main" userId="Travis Nesse" providerId="None"/>
      </p:ext>
    </p:extLst>
  </p:cmAuthor>
  <p:cmAuthor id="12" name="Danielle" initials="D" lastIdx="5" clrIdx="12">
    <p:extLst>
      <p:ext uri="{19B8F6BF-5375-455C-9EA6-DF929625EA0E}">
        <p15:presenceInfo xmlns:p15="http://schemas.microsoft.com/office/powerpoint/2012/main" userId="Danielle" providerId="None"/>
      </p:ext>
    </p:extLst>
  </p:cmAuthor>
  <p:cmAuthor id="13" name="James Nesse" initials="JN" lastIdx="19" clrIdx="13">
    <p:extLst>
      <p:ext uri="{19B8F6BF-5375-455C-9EA6-DF929625EA0E}">
        <p15:presenceInfo xmlns:p15="http://schemas.microsoft.com/office/powerpoint/2012/main" userId="209d8c40762552e6" providerId="Windows Live"/>
      </p:ext>
    </p:extLst>
  </p:cmAuthor>
  <p:cmAuthor id="14" name="Mary Lisa Newman" initials="MLN" lastIdx="38" clrIdx="14">
    <p:extLst>
      <p:ext uri="{19B8F6BF-5375-455C-9EA6-DF929625EA0E}">
        <p15:presenceInfo xmlns:p15="http://schemas.microsoft.com/office/powerpoint/2012/main" userId="Mary Lisa Newman" providerId="None"/>
      </p:ext>
    </p:extLst>
  </p:cmAuthor>
  <p:cmAuthor id="15" name="Adrienne Krefft" initials="AK" lastIdx="11" clrIdx="15">
    <p:extLst>
      <p:ext uri="{19B8F6BF-5375-455C-9EA6-DF929625EA0E}">
        <p15:presenceInfo xmlns:p15="http://schemas.microsoft.com/office/powerpoint/2012/main" userId="S::adkrefft@microsoft.com::5324d489-71df-426f-9522-b8707af7c6b7" providerId="AD"/>
      </p:ext>
    </p:extLst>
  </p:cmAuthor>
  <p:cmAuthor id="16" name="Andrew Childs" initials="AC" lastIdx="12" clrIdx="16">
    <p:extLst>
      <p:ext uri="{19B8F6BF-5375-455C-9EA6-DF929625EA0E}">
        <p15:presenceInfo xmlns:p15="http://schemas.microsoft.com/office/powerpoint/2012/main" userId="Andrew Childs" providerId="None"/>
      </p:ext>
    </p:extLst>
  </p:cmAuthor>
  <p:cmAuthor id="17" name="Melissa Hovis" initials="MH" lastIdx="6" clrIdx="17">
    <p:extLst>
      <p:ext uri="{19B8F6BF-5375-455C-9EA6-DF929625EA0E}">
        <p15:presenceInfo xmlns:p15="http://schemas.microsoft.com/office/powerpoint/2012/main" userId="S-1-12-1-3347228509-1226612902-1976318136-3020564244" providerId="AD"/>
      </p:ext>
    </p:extLst>
  </p:cmAuthor>
  <p:cmAuthor id="18" name="Astha Malik" initials="AM" lastIdx="5" clrIdx="18">
    <p:extLst>
      <p:ext uri="{19B8F6BF-5375-455C-9EA6-DF929625EA0E}">
        <p15:presenceInfo xmlns:p15="http://schemas.microsoft.com/office/powerpoint/2012/main" userId="S::asmalik@microsoft.com::f2c76ab3-2e1e-49d0-a2ea-fa8f3eb399fd" providerId="AD"/>
      </p:ext>
    </p:extLst>
  </p:cmAuthor>
  <p:cmAuthor id="19" name="Mary Lisa Newman" initials="MLN [2]" lastIdx="2" clrIdx="19">
    <p:extLst>
      <p:ext uri="{19B8F6BF-5375-455C-9EA6-DF929625EA0E}">
        <p15:presenceInfo xmlns:p15="http://schemas.microsoft.com/office/powerpoint/2012/main" userId="S::marylisa@audienz.com::9c8cba21-67a1-4aa9-98ba-c4ca1eda0aa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72C6"/>
    <a:srgbClr val="007EE2"/>
    <a:srgbClr val="464646"/>
    <a:srgbClr val="848484"/>
    <a:srgbClr val="005695"/>
    <a:srgbClr val="E6E6E6"/>
    <a:srgbClr val="003D70"/>
    <a:srgbClr val="0078D7"/>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0EDF9B-B197-0A03-44EA-95F4C90D3868}" v="30" dt="2020-07-29T23:19:11.3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autoAdjust="0"/>
    <p:restoredTop sz="96327" autoAdjust="0"/>
  </p:normalViewPr>
  <p:slideViewPr>
    <p:cSldViewPr snapToGrid="0" snapToObjects="1">
      <p:cViewPr>
        <p:scale>
          <a:sx n="125" d="100"/>
          <a:sy n="125" d="100"/>
        </p:scale>
        <p:origin x="640" y="-2496"/>
      </p:cViewPr>
      <p:guideLst>
        <p:guide pos="168"/>
        <p:guide orient="horz" pos="223"/>
        <p:guide pos="4728"/>
        <p:guide orient="horz" pos="6954"/>
      </p:guideLst>
    </p:cSldViewPr>
  </p:slideViewPr>
  <p:notesTextViewPr>
    <p:cViewPr>
      <p:scale>
        <a:sx n="3" d="2"/>
        <a:sy n="3" d="2"/>
      </p:scale>
      <p:origin x="0" y="0"/>
    </p:cViewPr>
  </p:notesTextViewPr>
  <p:sorterViewPr>
    <p:cViewPr>
      <p:scale>
        <a:sx n="174" d="100"/>
        <a:sy n="174" d="100"/>
      </p:scale>
      <p:origin x="0" y="0"/>
    </p:cViewPr>
  </p:sorterViewPr>
  <p:notesViewPr>
    <p:cSldViewPr snapToGrid="0" snapToObjects="1">
      <p:cViewPr varScale="1">
        <p:scale>
          <a:sx n="67" d="100"/>
          <a:sy n="67" d="100"/>
        </p:scale>
        <p:origin x="331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font" Target="fonts/font10.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9.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8.fntdata"/><Relationship Id="rId23" Type="http://schemas.openxmlformats.org/officeDocument/2006/relationships/viewProps" Target="viewProps.xml"/><Relationship Id="rId10" Type="http://schemas.openxmlformats.org/officeDocument/2006/relationships/font" Target="fonts/font3.fntdata"/><Relationship Id="rId19"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Quincy Kosena" userId="34552e9c-390f-40b5-8a42-f626db2682ad" providerId="ADAL" clId="{48038C7E-D0AF-7A4A-8547-C2133402E6D6}"/>
    <pc:docChg chg="undo custSel modSld">
      <pc:chgData name="Quincy Kosena" userId="34552e9c-390f-40b5-8a42-f626db2682ad" providerId="ADAL" clId="{48038C7E-D0AF-7A4A-8547-C2133402E6D6}" dt="2020-06-29T18:05:51.778" v="10" actId="20577"/>
      <pc:docMkLst>
        <pc:docMk/>
      </pc:docMkLst>
      <pc:sldChg chg="modSp">
        <pc:chgData name="Quincy Kosena" userId="34552e9c-390f-40b5-8a42-f626db2682ad" providerId="ADAL" clId="{48038C7E-D0AF-7A4A-8547-C2133402E6D6}" dt="2020-06-29T18:05:51.778" v="10" actId="20577"/>
        <pc:sldMkLst>
          <pc:docMk/>
          <pc:sldMk cId="3618785026" sldId="300"/>
        </pc:sldMkLst>
        <pc:spChg chg="mod">
          <ac:chgData name="Quincy Kosena" userId="34552e9c-390f-40b5-8a42-f626db2682ad" providerId="ADAL" clId="{48038C7E-D0AF-7A4A-8547-C2133402E6D6}" dt="2020-06-29T18:00:27.673" v="1" actId="20577"/>
          <ac:spMkLst>
            <pc:docMk/>
            <pc:sldMk cId="3618785026" sldId="300"/>
            <ac:spMk id="3" creationId="{2B54012A-4C47-4B8F-9C32-26B291DA09F7}"/>
          </ac:spMkLst>
        </pc:spChg>
        <pc:spChg chg="mod">
          <ac:chgData name="Quincy Kosena" userId="34552e9c-390f-40b5-8a42-f626db2682ad" providerId="ADAL" clId="{48038C7E-D0AF-7A4A-8547-C2133402E6D6}" dt="2020-06-29T18:05:35.047" v="8" actId="20577"/>
          <ac:spMkLst>
            <pc:docMk/>
            <pc:sldMk cId="3618785026" sldId="300"/>
            <ac:spMk id="22" creationId="{139ED6F1-277C-4DFF-B3A7-263F6E95D5EB}"/>
          </ac:spMkLst>
        </pc:spChg>
        <pc:spChg chg="mod">
          <ac:chgData name="Quincy Kosena" userId="34552e9c-390f-40b5-8a42-f626db2682ad" providerId="ADAL" clId="{48038C7E-D0AF-7A4A-8547-C2133402E6D6}" dt="2020-06-29T18:05:45.987" v="9" actId="20577"/>
          <ac:spMkLst>
            <pc:docMk/>
            <pc:sldMk cId="3618785026" sldId="300"/>
            <ac:spMk id="23" creationId="{CBE67812-2361-49A9-B9CF-62A664D37FC8}"/>
          </ac:spMkLst>
        </pc:spChg>
        <pc:spChg chg="mod">
          <ac:chgData name="Quincy Kosena" userId="34552e9c-390f-40b5-8a42-f626db2682ad" providerId="ADAL" clId="{48038C7E-D0AF-7A4A-8547-C2133402E6D6}" dt="2020-06-29T18:05:51.778" v="10" actId="20577"/>
          <ac:spMkLst>
            <pc:docMk/>
            <pc:sldMk cId="3618785026" sldId="300"/>
            <ac:spMk id="24" creationId="{30574AF1-C8A8-4B22-95E1-719C8DF62DC4}"/>
          </ac:spMkLst>
        </pc:spChg>
      </pc:sldChg>
    </pc:docChg>
  </pc:docChgLst>
  <pc:docChgLst>
    <pc:chgData name="Vera Pashkevich" userId="S::vera@audienz.com::237c24e3-1396-4d13-92f5-b4b4c65d57d4" providerId="AD" clId="Web-{D00EDF9B-B197-0A03-44EA-95F4C90D3868}"/>
    <pc:docChg chg="modSld">
      <pc:chgData name="Vera Pashkevich" userId="S::vera@audienz.com::237c24e3-1396-4d13-92f5-b4b4c65d57d4" providerId="AD" clId="Web-{D00EDF9B-B197-0A03-44EA-95F4C90D3868}" dt="2020-07-29T23:19:11.315" v="29" actId="20577"/>
      <pc:docMkLst>
        <pc:docMk/>
      </pc:docMkLst>
      <pc:sldChg chg="modSp">
        <pc:chgData name="Vera Pashkevich" userId="S::vera@audienz.com::237c24e3-1396-4d13-92f5-b4b4c65d57d4" providerId="AD" clId="Web-{D00EDF9B-B197-0A03-44EA-95F4C90D3868}" dt="2020-07-29T23:19:11.315" v="29" actId="20577"/>
        <pc:sldMkLst>
          <pc:docMk/>
          <pc:sldMk cId="3618785026" sldId="300"/>
        </pc:sldMkLst>
        <pc:spChg chg="mod">
          <ac:chgData name="Vera Pashkevich" userId="S::vera@audienz.com::237c24e3-1396-4d13-92f5-b4b4c65d57d4" providerId="AD" clId="Web-{D00EDF9B-B197-0A03-44EA-95F4C90D3868}" dt="2020-07-29T23:19:11.112" v="17" actId="20577"/>
          <ac:spMkLst>
            <pc:docMk/>
            <pc:sldMk cId="3618785026" sldId="300"/>
            <ac:spMk id="3" creationId="{2B54012A-4C47-4B8F-9C32-26B291DA09F7}"/>
          </ac:spMkLst>
        </pc:spChg>
        <pc:spChg chg="mod">
          <ac:chgData name="Vera Pashkevich" userId="S::vera@audienz.com::237c24e3-1396-4d13-92f5-b4b4c65d57d4" providerId="AD" clId="Web-{D00EDF9B-B197-0A03-44EA-95F4C90D3868}" dt="2020-07-29T23:19:10.768" v="0" actId="20577"/>
          <ac:spMkLst>
            <pc:docMk/>
            <pc:sldMk cId="3618785026" sldId="300"/>
            <ac:spMk id="13" creationId="{5CA304B9-D758-405B-8D68-ECD0786D38B0}"/>
          </ac:spMkLst>
        </pc:spChg>
        <pc:spChg chg="mod">
          <ac:chgData name="Vera Pashkevich" userId="S::vera@audienz.com::237c24e3-1396-4d13-92f5-b4b4c65d57d4" providerId="AD" clId="Web-{D00EDF9B-B197-0A03-44EA-95F4C90D3868}" dt="2020-07-29T23:19:10.800" v="1" actId="20577"/>
          <ac:spMkLst>
            <pc:docMk/>
            <pc:sldMk cId="3618785026" sldId="300"/>
            <ac:spMk id="15" creationId="{E48D419F-1834-49EE-9DD4-39104E76A4EE}"/>
          </ac:spMkLst>
        </pc:spChg>
        <pc:spChg chg="mod">
          <ac:chgData name="Vera Pashkevich" userId="S::vera@audienz.com::237c24e3-1396-4d13-92f5-b4b4c65d57d4" providerId="AD" clId="Web-{D00EDF9B-B197-0A03-44EA-95F4C90D3868}" dt="2020-07-29T23:19:10.831" v="2" actId="20577"/>
          <ac:spMkLst>
            <pc:docMk/>
            <pc:sldMk cId="3618785026" sldId="300"/>
            <ac:spMk id="17" creationId="{8A754138-D585-496F-ACCC-B26234CAF93C}"/>
          </ac:spMkLst>
        </pc:spChg>
        <pc:spChg chg="mod">
          <ac:chgData name="Vera Pashkevich" userId="S::vera@audienz.com::237c24e3-1396-4d13-92f5-b4b4c65d57d4" providerId="AD" clId="Web-{D00EDF9B-B197-0A03-44EA-95F4C90D3868}" dt="2020-07-29T23:19:11.081" v="15" actId="20577"/>
          <ac:spMkLst>
            <pc:docMk/>
            <pc:sldMk cId="3618785026" sldId="300"/>
            <ac:spMk id="20" creationId="{91FACA9C-D736-47D6-A629-50AE3F6ED786}"/>
          </ac:spMkLst>
        </pc:spChg>
        <pc:spChg chg="mod">
          <ac:chgData name="Vera Pashkevich" userId="S::vera@audienz.com::237c24e3-1396-4d13-92f5-b4b4c65d57d4" providerId="AD" clId="Web-{D00EDF9B-B197-0A03-44EA-95F4C90D3868}" dt="2020-07-29T23:19:10.862" v="4" actId="20577"/>
          <ac:spMkLst>
            <pc:docMk/>
            <pc:sldMk cId="3618785026" sldId="300"/>
            <ac:spMk id="22" creationId="{139ED6F1-277C-4DFF-B3A7-263F6E95D5EB}"/>
          </ac:spMkLst>
        </pc:spChg>
        <pc:spChg chg="mod">
          <ac:chgData name="Vera Pashkevich" userId="S::vera@audienz.com::237c24e3-1396-4d13-92f5-b4b4c65d57d4" providerId="AD" clId="Web-{D00EDF9B-B197-0A03-44EA-95F4C90D3868}" dt="2020-07-29T23:19:10.893" v="6" actId="20577"/>
          <ac:spMkLst>
            <pc:docMk/>
            <pc:sldMk cId="3618785026" sldId="300"/>
            <ac:spMk id="23" creationId="{CBE67812-2361-49A9-B9CF-62A664D37FC8}"/>
          </ac:spMkLst>
        </pc:spChg>
        <pc:spChg chg="mod">
          <ac:chgData name="Vera Pashkevich" userId="S::vera@audienz.com::237c24e3-1396-4d13-92f5-b4b4c65d57d4" providerId="AD" clId="Web-{D00EDF9B-B197-0A03-44EA-95F4C90D3868}" dt="2020-07-29T23:19:10.925" v="8" actId="20577"/>
          <ac:spMkLst>
            <pc:docMk/>
            <pc:sldMk cId="3618785026" sldId="300"/>
            <ac:spMk id="24" creationId="{30574AF1-C8A8-4B22-95E1-719C8DF62DC4}"/>
          </ac:spMkLst>
        </pc:spChg>
        <pc:spChg chg="mod">
          <ac:chgData name="Vera Pashkevich" userId="S::vera@audienz.com::237c24e3-1396-4d13-92f5-b4b4c65d57d4" providerId="AD" clId="Web-{D00EDF9B-B197-0A03-44EA-95F4C90D3868}" dt="2020-07-29T23:19:10.956" v="10" actId="20577"/>
          <ac:spMkLst>
            <pc:docMk/>
            <pc:sldMk cId="3618785026" sldId="300"/>
            <ac:spMk id="29" creationId="{7A8B80E1-6D29-442A-A52A-5939BE8C8BB0}"/>
          </ac:spMkLst>
        </pc:spChg>
        <pc:spChg chg="mod">
          <ac:chgData name="Vera Pashkevich" userId="S::vera@audienz.com::237c24e3-1396-4d13-92f5-b4b4c65d57d4" providerId="AD" clId="Web-{D00EDF9B-B197-0A03-44EA-95F4C90D3868}" dt="2020-07-29T23:19:10.987" v="11" actId="20577"/>
          <ac:spMkLst>
            <pc:docMk/>
            <pc:sldMk cId="3618785026" sldId="300"/>
            <ac:spMk id="32" creationId="{8B350EC5-B401-4111-B2E6-E5F0B887F156}"/>
          </ac:spMkLst>
        </pc:spChg>
        <pc:spChg chg="mod">
          <ac:chgData name="Vera Pashkevich" userId="S::vera@audienz.com::237c24e3-1396-4d13-92f5-b4b4c65d57d4" providerId="AD" clId="Web-{D00EDF9B-B197-0A03-44EA-95F4C90D3868}" dt="2020-07-29T23:19:11.018" v="12" actId="20577"/>
          <ac:spMkLst>
            <pc:docMk/>
            <pc:sldMk cId="3618785026" sldId="300"/>
            <ac:spMk id="38" creationId="{FC52F91C-A41E-4638-84B9-19FA7A23533B}"/>
          </ac:spMkLst>
        </pc:spChg>
        <pc:spChg chg="mod">
          <ac:chgData name="Vera Pashkevich" userId="S::vera@audienz.com::237c24e3-1396-4d13-92f5-b4b4c65d57d4" providerId="AD" clId="Web-{D00EDF9B-B197-0A03-44EA-95F4C90D3868}" dt="2020-07-29T23:19:11.050" v="13" actId="20577"/>
          <ac:spMkLst>
            <pc:docMk/>
            <pc:sldMk cId="3618785026" sldId="300"/>
            <ac:spMk id="48" creationId="{554813D2-4349-4B85-B2D7-5B61E5136688}"/>
          </ac:spMkLst>
        </pc:spChg>
        <pc:spChg chg="mod">
          <ac:chgData name="Vera Pashkevich" userId="S::vera@audienz.com::237c24e3-1396-4d13-92f5-b4b4c65d57d4" providerId="AD" clId="Web-{D00EDF9B-B197-0A03-44EA-95F4C90D3868}" dt="2020-07-29T23:19:11.143" v="19" actId="20577"/>
          <ac:spMkLst>
            <pc:docMk/>
            <pc:sldMk cId="3618785026" sldId="300"/>
            <ac:spMk id="49" creationId="{54A4CBAD-36E2-4E86-88CC-9B437D8BAA37}"/>
          </ac:spMkLst>
        </pc:spChg>
        <pc:spChg chg="mod">
          <ac:chgData name="Vera Pashkevich" userId="S::vera@audienz.com::237c24e3-1396-4d13-92f5-b4b4c65d57d4" providerId="AD" clId="Web-{D00EDF9B-B197-0A03-44EA-95F4C90D3868}" dt="2020-07-29T23:19:11.175" v="22" actId="20577"/>
          <ac:spMkLst>
            <pc:docMk/>
            <pc:sldMk cId="3618785026" sldId="300"/>
            <ac:spMk id="50" creationId="{34D0F5A5-B730-444A-A92A-46DCBCACF6F6}"/>
          </ac:spMkLst>
        </pc:spChg>
        <pc:spChg chg="mod">
          <ac:chgData name="Vera Pashkevich" userId="S::vera@audienz.com::237c24e3-1396-4d13-92f5-b4b4c65d57d4" providerId="AD" clId="Web-{D00EDF9B-B197-0A03-44EA-95F4C90D3868}" dt="2020-07-29T23:19:11.206" v="23" actId="20577"/>
          <ac:spMkLst>
            <pc:docMk/>
            <pc:sldMk cId="3618785026" sldId="300"/>
            <ac:spMk id="51" creationId="{FA215087-A72F-4D17-93FB-5D238D0F969C}"/>
          </ac:spMkLst>
        </pc:spChg>
        <pc:spChg chg="mod">
          <ac:chgData name="Vera Pashkevich" userId="S::vera@audienz.com::237c24e3-1396-4d13-92f5-b4b4c65d57d4" providerId="AD" clId="Web-{D00EDF9B-B197-0A03-44EA-95F4C90D3868}" dt="2020-07-29T23:19:11.237" v="25" actId="20577"/>
          <ac:spMkLst>
            <pc:docMk/>
            <pc:sldMk cId="3618785026" sldId="300"/>
            <ac:spMk id="52" creationId="{DB37610B-8AC0-4829-8E27-313A4AE5A3D0}"/>
          </ac:spMkLst>
        </pc:spChg>
        <pc:spChg chg="mod">
          <ac:chgData name="Vera Pashkevich" userId="S::vera@audienz.com::237c24e3-1396-4d13-92f5-b4b4c65d57d4" providerId="AD" clId="Web-{D00EDF9B-B197-0A03-44EA-95F4C90D3868}" dt="2020-07-29T23:19:11.268" v="27" actId="20577"/>
          <ac:spMkLst>
            <pc:docMk/>
            <pc:sldMk cId="3618785026" sldId="300"/>
            <ac:spMk id="53" creationId="{95D171C9-84E2-4E59-BBC5-421504ED3D7C}"/>
          </ac:spMkLst>
        </pc:spChg>
        <pc:spChg chg="mod">
          <ac:chgData name="Vera Pashkevich" userId="S::vera@audienz.com::237c24e3-1396-4d13-92f5-b4b4c65d57d4" providerId="AD" clId="Web-{D00EDF9B-B197-0A03-44EA-95F4C90D3868}" dt="2020-07-29T23:19:11.284" v="28" actId="20577"/>
          <ac:spMkLst>
            <pc:docMk/>
            <pc:sldMk cId="3618785026" sldId="300"/>
            <ac:spMk id="54" creationId="{1E29F736-9B94-44CC-BEB6-BAEC4E68750C}"/>
          </ac:spMkLst>
        </pc:spChg>
        <pc:spChg chg="mod">
          <ac:chgData name="Vera Pashkevich" userId="S::vera@audienz.com::237c24e3-1396-4d13-92f5-b4b4c65d57d4" providerId="AD" clId="Web-{D00EDF9B-B197-0A03-44EA-95F4C90D3868}" dt="2020-07-29T23:19:11.315" v="29" actId="20577"/>
          <ac:spMkLst>
            <pc:docMk/>
            <pc:sldMk cId="3618785026" sldId="300"/>
            <ac:spMk id="55" creationId="{A87377BB-BD0E-4BE9-BD9E-5C715C2607B4}"/>
          </ac:spMkLst>
        </pc:spChg>
      </pc:sldChg>
    </pc:docChg>
  </pc:docChgLst>
  <pc:docChgLst>
    <pc:chgData name="Travis Nesse" userId="7f5cd6f3-7534-4332-8f38-a3b44d62a5a5" providerId="ADAL" clId="{963FE128-A243-4A3C-BAD3-95D26108F461}"/>
    <pc:docChg chg="delSld modSld modSection">
      <pc:chgData name="Travis Nesse" userId="7f5cd6f3-7534-4332-8f38-a3b44d62a5a5" providerId="ADAL" clId="{963FE128-A243-4A3C-BAD3-95D26108F461}" dt="2020-06-26T18:05:44.326" v="7" actId="14861"/>
      <pc:docMkLst>
        <pc:docMk/>
      </pc:docMkLst>
      <pc:sldChg chg="del">
        <pc:chgData name="Travis Nesse" userId="7f5cd6f3-7534-4332-8f38-a3b44d62a5a5" providerId="ADAL" clId="{963FE128-A243-4A3C-BAD3-95D26108F461}" dt="2020-06-26T18:05:02.513" v="0" actId="47"/>
        <pc:sldMkLst>
          <pc:docMk/>
          <pc:sldMk cId="34192605" sldId="299"/>
        </pc:sldMkLst>
      </pc:sldChg>
      <pc:sldChg chg="modSp">
        <pc:chgData name="Travis Nesse" userId="7f5cd6f3-7534-4332-8f38-a3b44d62a5a5" providerId="ADAL" clId="{963FE128-A243-4A3C-BAD3-95D26108F461}" dt="2020-06-26T18:05:44.326" v="7" actId="14861"/>
        <pc:sldMkLst>
          <pc:docMk/>
          <pc:sldMk cId="3618785026" sldId="300"/>
        </pc:sldMkLst>
        <pc:spChg chg="mod">
          <ac:chgData name="Travis Nesse" userId="7f5cd6f3-7534-4332-8f38-a3b44d62a5a5" providerId="ADAL" clId="{963FE128-A243-4A3C-BAD3-95D26108F461}" dt="2020-06-26T18:05:07.475" v="1" actId="14861"/>
          <ac:spMkLst>
            <pc:docMk/>
            <pc:sldMk cId="3618785026" sldId="300"/>
            <ac:spMk id="15" creationId="{E48D419F-1834-49EE-9DD4-39104E76A4EE}"/>
          </ac:spMkLst>
        </pc:spChg>
        <pc:spChg chg="mod">
          <ac:chgData name="Travis Nesse" userId="7f5cd6f3-7534-4332-8f38-a3b44d62a5a5" providerId="ADAL" clId="{963FE128-A243-4A3C-BAD3-95D26108F461}" dt="2020-06-26T18:05:44.326" v="7" actId="14861"/>
          <ac:spMkLst>
            <pc:docMk/>
            <pc:sldMk cId="3618785026" sldId="300"/>
            <ac:spMk id="29" creationId="{7A8B80E1-6D29-442A-A52A-5939BE8C8BB0}"/>
          </ac:spMkLst>
        </pc:spChg>
        <pc:spChg chg="mod">
          <ac:chgData name="Travis Nesse" userId="7f5cd6f3-7534-4332-8f38-a3b44d62a5a5" providerId="ADAL" clId="{963FE128-A243-4A3C-BAD3-95D26108F461}" dt="2020-06-26T18:05:40.111" v="6" actId="14861"/>
          <ac:spMkLst>
            <pc:docMk/>
            <pc:sldMk cId="3618785026" sldId="300"/>
            <ac:spMk id="32" creationId="{8B350EC5-B401-4111-B2E6-E5F0B887F156}"/>
          </ac:spMkLst>
        </pc:spChg>
        <pc:spChg chg="mod">
          <ac:chgData name="Travis Nesse" userId="7f5cd6f3-7534-4332-8f38-a3b44d62a5a5" providerId="ADAL" clId="{963FE128-A243-4A3C-BAD3-95D26108F461}" dt="2020-06-26T18:05:33.483" v="5" actId="14861"/>
          <ac:spMkLst>
            <pc:docMk/>
            <pc:sldMk cId="3618785026" sldId="300"/>
            <ac:spMk id="38" creationId="{FC52F91C-A41E-4638-84B9-19FA7A23533B}"/>
          </ac:spMkLst>
        </pc:spChg>
        <pc:spChg chg="mod">
          <ac:chgData name="Travis Nesse" userId="7f5cd6f3-7534-4332-8f38-a3b44d62a5a5" providerId="ADAL" clId="{963FE128-A243-4A3C-BAD3-95D26108F461}" dt="2020-06-26T18:05:28.385" v="4" actId="14861"/>
          <ac:spMkLst>
            <pc:docMk/>
            <pc:sldMk cId="3618785026" sldId="300"/>
            <ac:spMk id="53" creationId="{95D171C9-84E2-4E59-BBC5-421504ED3D7C}"/>
          </ac:spMkLst>
        </pc:spChg>
        <pc:spChg chg="mod">
          <ac:chgData name="Travis Nesse" userId="7f5cd6f3-7534-4332-8f38-a3b44d62a5a5" providerId="ADAL" clId="{963FE128-A243-4A3C-BAD3-95D26108F461}" dt="2020-06-26T18:05:24.641" v="3" actId="14861"/>
          <ac:spMkLst>
            <pc:docMk/>
            <pc:sldMk cId="3618785026" sldId="300"/>
            <ac:spMk id="54" creationId="{1E29F736-9B94-44CC-BEB6-BAEC4E68750C}"/>
          </ac:spMkLst>
        </pc:spChg>
        <pc:spChg chg="mod">
          <ac:chgData name="Travis Nesse" userId="7f5cd6f3-7534-4332-8f38-a3b44d62a5a5" providerId="ADAL" clId="{963FE128-A243-4A3C-BAD3-95D26108F461}" dt="2020-06-26T18:05:19.786" v="2" actId="14861"/>
          <ac:spMkLst>
            <pc:docMk/>
            <pc:sldMk cId="3618785026" sldId="300"/>
            <ac:spMk id="55" creationId="{A87377BB-BD0E-4BE9-BD9E-5C715C2607B4}"/>
          </ac:spMkLst>
        </pc:spChg>
      </pc:sldChg>
    </pc:docChg>
  </pc:docChgLst>
  <pc:docChgLst>
    <pc:chgData name="Connor Schmidt" userId="09332ba3-bace-4762-933e-6733a8e21971" providerId="ADAL" clId="{A88D0AE1-2D5E-4FF0-AC9D-60A30F6C7D6A}"/>
    <pc:docChg chg="modSld">
      <pc:chgData name="Connor Schmidt" userId="09332ba3-bace-4762-933e-6733a8e21971" providerId="ADAL" clId="{A88D0AE1-2D5E-4FF0-AC9D-60A30F6C7D6A}" dt="2020-06-26T20:21:11.086" v="26" actId="20577"/>
      <pc:docMkLst>
        <pc:docMk/>
      </pc:docMkLst>
      <pc:sldChg chg="modSp">
        <pc:chgData name="Connor Schmidt" userId="09332ba3-bace-4762-933e-6733a8e21971" providerId="ADAL" clId="{A88D0AE1-2D5E-4FF0-AC9D-60A30F6C7D6A}" dt="2020-06-26T20:21:11.086" v="26" actId="20577"/>
        <pc:sldMkLst>
          <pc:docMk/>
          <pc:sldMk cId="3618785026" sldId="300"/>
        </pc:sldMkLst>
        <pc:spChg chg="mod">
          <ac:chgData name="Connor Schmidt" userId="09332ba3-bace-4762-933e-6733a8e21971" providerId="ADAL" clId="{A88D0AE1-2D5E-4FF0-AC9D-60A30F6C7D6A}" dt="2020-06-26T20:21:11.086" v="26" actId="20577"/>
          <ac:spMkLst>
            <pc:docMk/>
            <pc:sldMk cId="3618785026" sldId="300"/>
            <ac:spMk id="48" creationId="{554813D2-4349-4B85-B2D7-5B61E5136688}"/>
          </ac:spMkLst>
        </pc:spChg>
        <pc:spChg chg="mod">
          <ac:chgData name="Connor Schmidt" userId="09332ba3-bace-4762-933e-6733a8e21971" providerId="ADAL" clId="{A88D0AE1-2D5E-4FF0-AC9D-60A30F6C7D6A}" dt="2020-06-26T20:21:00.207" v="25" actId="20577"/>
          <ac:spMkLst>
            <pc:docMk/>
            <pc:sldMk cId="3618785026" sldId="300"/>
            <ac:spMk id="50" creationId="{34D0F5A5-B730-444A-A92A-46DCBCACF6F6}"/>
          </ac:spMkLst>
        </pc:spChg>
      </pc:sldChg>
    </pc:docChg>
  </pc:docChgLst>
  <pc:docChgLst>
    <pc:chgData name="Mary Lisa Newman" userId="9c8cba21-67a1-4aa9-98ba-c4ca1eda0aa0" providerId="ADAL" clId="{68341F84-B19B-42FD-98C9-CC874754D2FB}"/>
    <pc:docChg chg="modSld">
      <pc:chgData name="Mary Lisa Newman" userId="9c8cba21-67a1-4aa9-98ba-c4ca1eda0aa0" providerId="ADAL" clId="{68341F84-B19B-42FD-98C9-CC874754D2FB}" dt="2020-07-01T23:37:01.033" v="5" actId="13926"/>
      <pc:docMkLst>
        <pc:docMk/>
      </pc:docMkLst>
      <pc:sldChg chg="modSp">
        <pc:chgData name="Mary Lisa Newman" userId="9c8cba21-67a1-4aa9-98ba-c4ca1eda0aa0" providerId="ADAL" clId="{68341F84-B19B-42FD-98C9-CC874754D2FB}" dt="2020-07-01T23:37:01.033" v="5" actId="13926"/>
        <pc:sldMkLst>
          <pc:docMk/>
          <pc:sldMk cId="3618785026" sldId="300"/>
        </pc:sldMkLst>
        <pc:spChg chg="mod">
          <ac:chgData name="Mary Lisa Newman" userId="9c8cba21-67a1-4aa9-98ba-c4ca1eda0aa0" providerId="ADAL" clId="{68341F84-B19B-42FD-98C9-CC874754D2FB}" dt="2020-07-01T23:36:36.059" v="0" actId="13926"/>
          <ac:spMkLst>
            <pc:docMk/>
            <pc:sldMk cId="3618785026" sldId="300"/>
            <ac:spMk id="17" creationId="{8A754138-D585-496F-ACCC-B26234CAF93C}"/>
          </ac:spMkLst>
        </pc:spChg>
        <pc:spChg chg="mod">
          <ac:chgData name="Mary Lisa Newman" userId="9c8cba21-67a1-4aa9-98ba-c4ca1eda0aa0" providerId="ADAL" clId="{68341F84-B19B-42FD-98C9-CC874754D2FB}" dt="2020-07-01T23:36:53.061" v="3" actId="13926"/>
          <ac:spMkLst>
            <pc:docMk/>
            <pc:sldMk cId="3618785026" sldId="300"/>
            <ac:spMk id="22" creationId="{139ED6F1-277C-4DFF-B3A7-263F6E95D5EB}"/>
          </ac:spMkLst>
        </pc:spChg>
        <pc:spChg chg="mod">
          <ac:chgData name="Mary Lisa Newman" userId="9c8cba21-67a1-4aa9-98ba-c4ca1eda0aa0" providerId="ADAL" clId="{68341F84-B19B-42FD-98C9-CC874754D2FB}" dt="2020-07-01T23:36:58.285" v="4" actId="13926"/>
          <ac:spMkLst>
            <pc:docMk/>
            <pc:sldMk cId="3618785026" sldId="300"/>
            <ac:spMk id="23" creationId="{CBE67812-2361-49A9-B9CF-62A664D37FC8}"/>
          </ac:spMkLst>
        </pc:spChg>
        <pc:spChg chg="mod">
          <ac:chgData name="Mary Lisa Newman" userId="9c8cba21-67a1-4aa9-98ba-c4ca1eda0aa0" providerId="ADAL" clId="{68341F84-B19B-42FD-98C9-CC874754D2FB}" dt="2020-07-01T23:37:01.033" v="5" actId="13926"/>
          <ac:spMkLst>
            <pc:docMk/>
            <pc:sldMk cId="3618785026" sldId="300"/>
            <ac:spMk id="24" creationId="{30574AF1-C8A8-4B22-95E1-719C8DF62DC4}"/>
          </ac:spMkLst>
        </pc:spChg>
        <pc:spChg chg="mod">
          <ac:chgData name="Mary Lisa Newman" userId="9c8cba21-67a1-4aa9-98ba-c4ca1eda0aa0" providerId="ADAL" clId="{68341F84-B19B-42FD-98C9-CC874754D2FB}" dt="2020-07-01T23:36:48.721" v="2" actId="13926"/>
          <ac:spMkLst>
            <pc:docMk/>
            <pc:sldMk cId="3618785026" sldId="300"/>
            <ac:spMk id="48" creationId="{554813D2-4349-4B85-B2D7-5B61E5136688}"/>
          </ac:spMkLst>
        </pc:spChg>
        <pc:spChg chg="mod">
          <ac:chgData name="Mary Lisa Newman" userId="9c8cba21-67a1-4aa9-98ba-c4ca1eda0aa0" providerId="ADAL" clId="{68341F84-B19B-42FD-98C9-CC874754D2FB}" dt="2020-07-01T23:36:42.149" v="1" actId="13926"/>
          <ac:spMkLst>
            <pc:docMk/>
            <pc:sldMk cId="3618785026" sldId="300"/>
            <ac:spMk id="50" creationId="{34D0F5A5-B730-444A-A92A-46DCBCACF6F6}"/>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F9355F37-7DDC-6140-9FF6-A980F3E2147B}" type="datetimeFigureOut">
              <a:rPr lang="en-US" smtClean="0"/>
              <a:pPr/>
              <a:t>7/29/2020</a:t>
            </a:fld>
            <a:endParaRPr lang="en-US" dirty="0"/>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E752923B-E6FB-6444-954F-272993D27630}" type="slidenum">
              <a:rPr lang="en-US" smtClean="0"/>
              <a:pPr/>
              <a:t>‹#›</a:t>
            </a:fld>
            <a:endParaRPr lang="en-US" dirty="0"/>
          </a:p>
        </p:txBody>
      </p:sp>
    </p:spTree>
    <p:extLst>
      <p:ext uri="{BB962C8B-B14F-4D97-AF65-F5344CB8AC3E}">
        <p14:creationId xmlns:p14="http://schemas.microsoft.com/office/powerpoint/2010/main" val="774772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570E81C1-76EA-4EF4-ACA2-61548F7B8B75}" type="datetimeFigureOut">
              <a:rPr lang="en-US" smtClean="0"/>
              <a:pPr/>
              <a:t>7/29/2020</a:t>
            </a:fld>
            <a:endParaRPr lang="en-US" dirty="0"/>
          </a:p>
        </p:txBody>
      </p:sp>
      <p:sp>
        <p:nvSpPr>
          <p:cNvPr id="4" name="Slide Image Placeholder 3"/>
          <p:cNvSpPr>
            <a:spLocks noGrp="1" noRot="1" noChangeAspect="1"/>
          </p:cNvSpPr>
          <p:nvPr>
            <p:ph type="sldImg" idx="2"/>
          </p:nvPr>
        </p:nvSpPr>
        <p:spPr>
          <a:xfrm>
            <a:off x="2387600" y="1162050"/>
            <a:ext cx="20828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73575"/>
            <a:ext cx="548640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6725"/>
          </a:xfrm>
          <a:prstGeom prst="rect">
            <a:avLst/>
          </a:prstGeom>
        </p:spPr>
        <p:txBody>
          <a:bodyPr vert="horz" lIns="91440" tIns="45720" rIns="91440" bIns="45720" rtlCol="0" anchor="b"/>
          <a:lstStyle>
            <a:lvl1pPr algn="r">
              <a:defRPr sz="1200"/>
            </a:lvl1pPr>
          </a:lstStyle>
          <a:p>
            <a:fld id="{DFC602C3-C79E-43EB-A789-D085B69768A4}" type="slidenum">
              <a:rPr lang="en-US" smtClean="0"/>
              <a:pPr/>
              <a:t>‹#›</a:t>
            </a:fld>
            <a:endParaRPr lang="en-US" dirty="0"/>
          </a:p>
        </p:txBody>
      </p:sp>
    </p:spTree>
    <p:extLst>
      <p:ext uri="{BB962C8B-B14F-4D97-AF65-F5344CB8AC3E}">
        <p14:creationId xmlns:p14="http://schemas.microsoft.com/office/powerpoint/2010/main" val="1682582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87600" y="1162050"/>
            <a:ext cx="20828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C602C3-C79E-43EB-A789-D085B69768A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86632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lumMod val="95000"/>
          </a:schemeClr>
        </a:solidFill>
        <a:effectLst/>
      </p:bgPr>
    </p:bg>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96AA149E-96FE-43A7-8174-5E461FC9B410}"/>
              </a:ext>
            </a:extLst>
          </p:cNvPr>
          <p:cNvSpPr txBox="1"/>
          <p:nvPr userDrawn="1"/>
        </p:nvSpPr>
        <p:spPr>
          <a:xfrm>
            <a:off x="345764" y="961950"/>
            <a:ext cx="7056750" cy="378206"/>
          </a:xfrm>
          <a:prstGeom prst="rect">
            <a:avLst/>
          </a:prstGeom>
          <a:noFill/>
        </p:spPr>
        <p:txBody>
          <a:bodyPr wrap="square" lIns="0" tIns="0" rIns="0" bIns="0" rtlCol="0">
            <a:noAutofit/>
          </a:bodyPr>
          <a:lstStyle>
            <a:defPPr>
              <a:defRPr lang="en-US"/>
            </a:defPPr>
            <a:lvl1pPr>
              <a:lnSpc>
                <a:spcPct val="90000"/>
              </a:lnSpc>
              <a:defRPr sz="3200">
                <a:solidFill>
                  <a:schemeClr val="accent1"/>
                </a:solidFill>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2218"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2" name="TextBox 21">
            <a:extLst>
              <a:ext uri="{FF2B5EF4-FFF2-40B4-BE49-F238E27FC236}">
                <a16:creationId xmlns:a16="http://schemas.microsoft.com/office/drawing/2014/main" id="{5B29FDB2-E723-484D-8E40-4AFDCA8A6023}"/>
              </a:ext>
            </a:extLst>
          </p:cNvPr>
          <p:cNvSpPr txBox="1"/>
          <p:nvPr userDrawn="1"/>
        </p:nvSpPr>
        <p:spPr>
          <a:xfrm>
            <a:off x="345764" y="1908728"/>
            <a:ext cx="7056750" cy="236379"/>
          </a:xfrm>
          <a:prstGeom prst="rect">
            <a:avLst/>
          </a:prstGeom>
          <a:noFill/>
        </p:spPr>
        <p:txBody>
          <a:bodyPr wrap="square" lIns="0" tIns="0" rIns="0" bIns="0" rtlCol="0">
            <a:noAutofit/>
          </a:bodyPr>
          <a:lstStyle>
            <a:defPPr>
              <a:defRPr lang="en-US"/>
            </a:defPPr>
            <a:lvl1pPr>
              <a:defRPr sz="1800"/>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48" b="0" i="0" u="none" strike="noStrike" kern="1200" cap="none" spc="0" normalizeH="0" baseline="0" noProof="0">
              <a:ln>
                <a:noFill/>
              </a:ln>
              <a:solidFill>
                <a:srgbClr val="000000"/>
              </a:solidFill>
              <a:effectLst/>
              <a:uLnTx/>
              <a:uFillTx/>
              <a:latin typeface="Segoe UI"/>
              <a:ea typeface="+mn-ea"/>
              <a:cs typeface="+mn-cs"/>
            </a:endParaRPr>
          </a:p>
        </p:txBody>
      </p:sp>
      <p:sp>
        <p:nvSpPr>
          <p:cNvPr id="23" name="Text Placeholder 28">
            <a:extLst>
              <a:ext uri="{FF2B5EF4-FFF2-40B4-BE49-F238E27FC236}">
                <a16:creationId xmlns:a16="http://schemas.microsoft.com/office/drawing/2014/main" id="{F9052538-E0F7-4EEE-B032-EDDF094E8ACE}"/>
              </a:ext>
            </a:extLst>
          </p:cNvPr>
          <p:cNvSpPr>
            <a:spLocks noGrp="1"/>
          </p:cNvSpPr>
          <p:nvPr>
            <p:ph type="body" sz="quarter" idx="10"/>
          </p:nvPr>
        </p:nvSpPr>
        <p:spPr>
          <a:xfrm>
            <a:off x="373065" y="961950"/>
            <a:ext cx="7029451" cy="590542"/>
          </a:xfrm>
          <a:noFill/>
        </p:spPr>
        <p:txBody>
          <a:bodyPr wrap="square" lIns="0" tIns="0" rIns="0" bIns="0" rtlCol="0">
            <a:noAutofit/>
          </a:bodyPr>
          <a:lstStyle>
            <a:lvl1pPr marL="0" indent="0" algn="l">
              <a:buNone/>
              <a:defRPr lang="en-US" sz="2218" smtClean="0">
                <a:solidFill>
                  <a:schemeClr val="accent1"/>
                </a:solidFill>
                <a:latin typeface="+mj-lt"/>
                <a:cs typeface="+mn-cs"/>
              </a:defRPr>
            </a:lvl1pPr>
            <a:lvl2pPr marL="0" indent="0" algn="l">
              <a:buNone/>
              <a:defRPr lang="en-US" sz="1224" smtClean="0"/>
            </a:lvl2pPr>
            <a:lvl3pPr marL="261010" indent="0" algn="l">
              <a:buNone/>
              <a:defRPr lang="en-US" sz="1224" smtClean="0"/>
            </a:lvl3pPr>
            <a:lvl4pPr marL="613525" indent="0" algn="l">
              <a:buNone/>
              <a:defRPr lang="en-US" sz="1224" smtClean="0"/>
            </a:lvl4pPr>
            <a:lvl5pPr marL="954198" indent="0" algn="l">
              <a:buNone/>
              <a:defRPr lang="en-US" sz="1224"/>
            </a:lvl5pPr>
          </a:lstStyle>
          <a:p>
            <a:pPr marL="0" lvl="0" defTabSz="633986">
              <a:lnSpc>
                <a:spcPct val="90000"/>
              </a:lnSpc>
            </a:pPr>
            <a:r>
              <a:rPr lang="en-US"/>
              <a:t>Click to edit Master text styles</a:t>
            </a:r>
          </a:p>
        </p:txBody>
      </p:sp>
      <p:sp>
        <p:nvSpPr>
          <p:cNvPr id="24" name="Text Placeholder 30">
            <a:extLst>
              <a:ext uri="{FF2B5EF4-FFF2-40B4-BE49-F238E27FC236}">
                <a16:creationId xmlns:a16="http://schemas.microsoft.com/office/drawing/2014/main" id="{7481ABB0-6FAE-4F60-89FE-83B3D3DBF8D7}"/>
              </a:ext>
            </a:extLst>
          </p:cNvPr>
          <p:cNvSpPr>
            <a:spLocks noGrp="1"/>
          </p:cNvSpPr>
          <p:nvPr>
            <p:ph type="body" sz="quarter" idx="11"/>
          </p:nvPr>
        </p:nvSpPr>
        <p:spPr>
          <a:xfrm>
            <a:off x="373065" y="1908727"/>
            <a:ext cx="7029451" cy="192040"/>
          </a:xfrm>
          <a:noFill/>
        </p:spPr>
        <p:txBody>
          <a:bodyPr wrap="square" lIns="0" tIns="0" rIns="0" bIns="0" rtlCol="0">
            <a:spAutoFit/>
          </a:bodyPr>
          <a:lstStyle>
            <a:lvl1pPr marL="0" indent="0">
              <a:buNone/>
              <a:defRPr lang="en-US" sz="1248" smtClean="0">
                <a:cs typeface="+mn-cs"/>
              </a:defRPr>
            </a:lvl1pPr>
            <a:lvl2pPr marL="0" indent="0">
              <a:buNone/>
              <a:defRPr lang="en-US" sz="1224" smtClean="0"/>
            </a:lvl2pPr>
            <a:lvl3pPr marL="261010" indent="0">
              <a:buNone/>
              <a:defRPr lang="en-US" sz="1224" smtClean="0"/>
            </a:lvl3pPr>
            <a:lvl4pPr marL="613525" indent="0">
              <a:buNone/>
              <a:defRPr lang="en-US" sz="1224" smtClean="0"/>
            </a:lvl4pPr>
            <a:lvl5pPr marL="954198" indent="0">
              <a:buNone/>
              <a:defRPr lang="en-US" sz="1224"/>
            </a:lvl5pPr>
          </a:lstStyle>
          <a:p>
            <a:pPr marL="0" lvl="0" defTabSz="633986"/>
            <a:r>
              <a:rPr lang="en-US"/>
              <a:t>Click to edit Master text styles</a:t>
            </a:r>
          </a:p>
        </p:txBody>
      </p:sp>
    </p:spTree>
    <p:extLst>
      <p:ext uri="{BB962C8B-B14F-4D97-AF65-F5344CB8AC3E}">
        <p14:creationId xmlns:p14="http://schemas.microsoft.com/office/powerpoint/2010/main" val="1470963731"/>
      </p:ext>
    </p:extLst>
  </p:cSld>
  <p:clrMapOvr>
    <a:masterClrMapping/>
  </p:clrMapOvr>
  <p:transition>
    <p:fade/>
  </p:transition>
  <p:extLst>
    <p:ext uri="{DCECCB84-F9BA-43D5-87BE-67443E8EF086}">
      <p15:sldGuideLst xmlns:p15="http://schemas.microsoft.com/office/powerpoint/2012/main">
        <p15:guide id="6" pos="496">
          <p15:clr>
            <a:srgbClr val="A4A3A4"/>
          </p15:clr>
        </p15:guide>
        <p15:guide id="7" pos="613">
          <p15:clr>
            <a:srgbClr val="A4A3A4"/>
          </p15:clr>
        </p15:guide>
        <p15:guide id="8" pos="875">
          <p15:clr>
            <a:srgbClr val="A4A3A4"/>
          </p15:clr>
        </p15:guide>
        <p15:guide id="9" pos="992">
          <p15:clr>
            <a:srgbClr val="A4A3A4"/>
          </p15:clr>
        </p15:guide>
        <p15:guide id="10" pos="1253">
          <p15:clr>
            <a:srgbClr val="A4A3A4"/>
          </p15:clr>
        </p15:guide>
        <p15:guide id="11" pos="1370">
          <p15:clr>
            <a:srgbClr val="A4A3A4"/>
          </p15:clr>
        </p15:guide>
        <p15:guide id="12" pos="1633">
          <p15:clr>
            <a:srgbClr val="A4A3A4"/>
          </p15:clr>
        </p15:guide>
        <p15:guide id="13" pos="1750">
          <p15:clr>
            <a:srgbClr val="A4A3A4"/>
          </p15:clr>
        </p15:guide>
        <p15:guide id="14" pos="2012">
          <p15:clr>
            <a:srgbClr val="A4A3A4"/>
          </p15:clr>
        </p15:guide>
        <p15:guide id="15" pos="2128">
          <p15:clr>
            <a:srgbClr val="A4A3A4"/>
          </p15:clr>
        </p15:guide>
        <p15:guide id="16" pos="2390">
          <p15:clr>
            <a:srgbClr val="A4A3A4"/>
          </p15:clr>
        </p15:guide>
        <p15:guide id="17" pos="2507">
          <p15:clr>
            <a:srgbClr val="A4A3A4"/>
          </p15:clr>
        </p15:guide>
        <p15:guide id="18" pos="2769">
          <p15:clr>
            <a:srgbClr val="A4A3A4"/>
          </p15:clr>
        </p15:guide>
        <p15:guide id="19" pos="2885">
          <p15:clr>
            <a:srgbClr val="A4A3A4"/>
          </p15:clr>
        </p15:guide>
        <p15:guide id="20" pos="3147">
          <p15:clr>
            <a:srgbClr val="A4A3A4"/>
          </p15:clr>
        </p15:guide>
        <p15:guide id="21" pos="3264">
          <p15:clr>
            <a:srgbClr val="A4A3A4"/>
          </p15:clr>
        </p15:guide>
        <p15:guide id="22" pos="3525">
          <p15:clr>
            <a:srgbClr val="A4A3A4"/>
          </p15:clr>
        </p15:guide>
        <p15:guide id="23" pos="3643">
          <p15:clr>
            <a:srgbClr val="A4A3A4"/>
          </p15:clr>
        </p15:guide>
        <p15:guide id="24" pos="3903">
          <p15:clr>
            <a:srgbClr val="A4A3A4"/>
          </p15:clr>
        </p15:guide>
        <p15:guide id="25" pos="4021">
          <p15:clr>
            <a:srgbClr val="A4A3A4"/>
          </p15:clr>
        </p15:guide>
        <p15:guide id="26" pos="4282">
          <p15:clr>
            <a:srgbClr val="A4A3A4"/>
          </p15:clr>
        </p15:guide>
        <p15:guide id="27" pos="4398">
          <p15:clr>
            <a:srgbClr val="A4A3A4"/>
          </p15:clr>
        </p15:guide>
        <p15:guide id="28" orient="horz" pos="1659">
          <p15:clr>
            <a:srgbClr val="5ACBF0"/>
          </p15:clr>
        </p15:guide>
        <p15:guide id="29" orient="horz" pos="3215">
          <p15:clr>
            <a:srgbClr val="5ACBF0"/>
          </p15:clr>
        </p15:guide>
        <p15:guide id="30" orient="horz" pos="1045">
          <p15:clr>
            <a:srgbClr val="5ACBF0"/>
          </p15:clr>
        </p15:guide>
        <p15:guide id="31" orient="horz" pos="1229">
          <p15:clr>
            <a:srgbClr val="5ACBF0"/>
          </p15:clr>
        </p15:guide>
        <p15:guide id="32" orient="horz" pos="1474">
          <p15:clr>
            <a:srgbClr val="5ACBF0"/>
          </p15:clr>
        </p15:guide>
        <p15:guide id="33" orient="horz" pos="1864">
          <p15:clr>
            <a:srgbClr val="5ACBF0"/>
          </p15:clr>
        </p15:guide>
        <p15:guide id="34" orient="horz" pos="3400">
          <p15:clr>
            <a:srgbClr val="5ACBF0"/>
          </p15:clr>
        </p15:guide>
        <p15:guide id="35" orient="horz" pos="3584">
          <p15:clr>
            <a:srgbClr val="5ACBF0"/>
          </p15:clr>
        </p15:guide>
        <p15:guide id="36" orient="horz" pos="4936">
          <p15:clr>
            <a:srgbClr val="5ACBF0"/>
          </p15:clr>
        </p15:guide>
        <p15:guide id="37" orient="horz" pos="5120">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375021" y="780314"/>
            <a:ext cx="7024307" cy="1594121"/>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372436" y="3495785"/>
            <a:ext cx="7024307" cy="2128340"/>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7772400" cy="11704638"/>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2" y="0"/>
            <a:ext cx="373075" cy="99879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1028" tIns="272823" rIns="341028" bIns="272823" numCol="1" spcCol="0" rtlCol="0" fromWordArt="0" anchor="t" anchorCtr="0" forceAA="0" compatLnSpc="1">
            <a:prstTxWarp prst="textNoShape">
              <a:avLst/>
            </a:prstTxWarp>
            <a:noAutofit/>
          </a:bodyPr>
          <a:lstStyle/>
          <a:p>
            <a:pPr marL="0" marR="0" lvl="0" indent="0" algn="ctr" defTabSz="1738726" rtl="0" eaLnBrk="1" fontAlgn="base" latinLnBrk="0" hangingPunct="1">
              <a:lnSpc>
                <a:spcPct val="90000"/>
              </a:lnSpc>
              <a:spcBef>
                <a:spcPct val="0"/>
              </a:spcBef>
              <a:spcAft>
                <a:spcPct val="0"/>
              </a:spcAft>
              <a:buClrTx/>
              <a:buSzTx/>
              <a:buFontTx/>
              <a:buNone/>
              <a:tabLst/>
              <a:defRPr/>
            </a:pPr>
            <a:endParaRPr kumimoji="0" lang="en-US" sz="447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4" y="0"/>
            <a:ext cx="186538" cy="49939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1028" tIns="272823" rIns="341028" bIns="272823" numCol="1" spcCol="0" rtlCol="0" fromWordArt="0" anchor="t" anchorCtr="0" forceAA="0" compatLnSpc="1">
            <a:prstTxWarp prst="textNoShape">
              <a:avLst/>
            </a:prstTxWarp>
            <a:noAutofit/>
          </a:bodyPr>
          <a:lstStyle/>
          <a:p>
            <a:pPr marL="0" marR="0" lvl="0" indent="0" algn="ctr" defTabSz="1738726" rtl="0" eaLnBrk="1" fontAlgn="base" latinLnBrk="0" hangingPunct="1">
              <a:lnSpc>
                <a:spcPct val="90000"/>
              </a:lnSpc>
              <a:spcBef>
                <a:spcPct val="0"/>
              </a:spcBef>
              <a:spcAft>
                <a:spcPct val="0"/>
              </a:spcAft>
              <a:buClrTx/>
              <a:buSzTx/>
              <a:buFontTx/>
              <a:buNone/>
              <a:tabLst/>
              <a:defRPr/>
            </a:pPr>
            <a:endParaRPr kumimoji="0" lang="en-US" sz="447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tretch/>
        </p:blipFill>
        <p:spPr>
          <a:xfrm rot="5400000">
            <a:off x="5556327" y="2398729"/>
            <a:ext cx="6189149" cy="1391690"/>
          </a:xfrm>
          <a:prstGeom prst="rect">
            <a:avLst/>
          </a:prstGeom>
        </p:spPr>
      </p:pic>
    </p:spTree>
    <p:extLst>
      <p:ext uri="{BB962C8B-B14F-4D97-AF65-F5344CB8AC3E}">
        <p14:creationId xmlns:p14="http://schemas.microsoft.com/office/powerpoint/2010/main" val="680773651"/>
      </p:ext>
    </p:extLst>
  </p:cSld>
  <p:clrMap bg1="lt1" tx1="dk1" bg2="lt2" tx2="dk2" accent1="accent1" accent2="accent2" accent3="accent3" accent4="accent4" accent5="accent5" accent6="accent6" hlink="hlink" folHlink="folHlink"/>
  <p:sldLayoutIdLst>
    <p:sldLayoutId id="2147483659" r:id="rId1"/>
  </p:sldLayoutIdLst>
  <p:transition>
    <p:fade/>
  </p:transition>
  <p:hf sldNum="0" hdr="0" ftr="0" dt="0"/>
  <p:txStyles>
    <p:titleStyle>
      <a:lvl1pPr algn="l" defTabSz="1739229" rtl="0" eaLnBrk="1" latinLnBrk="0" hangingPunct="1">
        <a:lnSpc>
          <a:spcPct val="100000"/>
        </a:lnSpc>
        <a:spcBef>
          <a:spcPct val="0"/>
        </a:spcBef>
        <a:buNone/>
        <a:defRPr lang="en-US" sz="5179" b="0" kern="1200" cap="none" spc="-93" baseline="0" dirty="0" smtClean="0">
          <a:ln w="3175">
            <a:noFill/>
          </a:ln>
          <a:solidFill>
            <a:schemeClr val="tx1"/>
          </a:solidFill>
          <a:effectLst/>
          <a:latin typeface="+mj-lt"/>
          <a:ea typeface="+mn-ea"/>
          <a:cs typeface="Segoe UI" pitchFamily="34" charset="0"/>
        </a:defRPr>
      </a:lvl1pPr>
    </p:titleStyle>
    <p:bodyStyle>
      <a:lvl1pPr marL="426258" marR="0" indent="-426258"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885" kern="1200" spc="0" baseline="0">
          <a:solidFill>
            <a:schemeClr val="tx1"/>
          </a:solidFill>
          <a:latin typeface="+mn-lt"/>
          <a:ea typeface="+mn-ea"/>
          <a:cs typeface="Segoe UI" panose="020B0502040204020203" pitchFamily="34" charset="0"/>
        </a:defRPr>
      </a:lvl1pPr>
      <a:lvl2pPr marL="852514" marR="0" indent="-426258"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590" kern="1200" spc="0" baseline="0">
          <a:solidFill>
            <a:schemeClr val="tx1"/>
          </a:solidFill>
          <a:latin typeface="+mn-lt"/>
          <a:ea typeface="+mn-ea"/>
          <a:cs typeface="+mn-cs"/>
        </a:defRPr>
      </a:lvl2pPr>
      <a:lvl3pPr marL="1225489" marR="0" indent="-372976"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72" kern="1200" spc="0" baseline="0">
          <a:solidFill>
            <a:schemeClr val="tx1"/>
          </a:solidFill>
          <a:latin typeface="+mn-lt"/>
          <a:ea typeface="+mn-ea"/>
          <a:cs typeface="+mn-cs"/>
        </a:defRPr>
      </a:lvl3pPr>
      <a:lvl4pPr marL="1571823" marR="0" indent="-337453"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13" kern="1200" spc="0" baseline="0">
          <a:solidFill>
            <a:schemeClr val="tx1"/>
          </a:solidFill>
          <a:latin typeface="+mn-lt"/>
          <a:ea typeface="+mn-ea"/>
          <a:cs typeface="+mn-cs"/>
        </a:defRPr>
      </a:lvl4pPr>
      <a:lvl5pPr marL="1909277" marR="0" indent="-313773"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13" kern="1200" spc="0" baseline="0">
          <a:solidFill>
            <a:schemeClr val="tx1"/>
          </a:solidFill>
          <a:latin typeface="+mn-lt"/>
          <a:ea typeface="+mn-ea"/>
          <a:cs typeface="+mn-cs"/>
        </a:defRPr>
      </a:lvl5pPr>
      <a:lvl6pPr marL="4782879"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6pPr>
      <a:lvl7pPr marL="5652494"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7pPr>
      <a:lvl8pPr marL="6522110"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8pPr>
      <a:lvl9pPr marL="7391726"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9pPr>
    </p:bodyStyle>
    <p:otherStyle>
      <a:defPPr>
        <a:defRPr lang="en-US"/>
      </a:defPPr>
      <a:lvl1pPr marL="0" algn="l" defTabSz="1739229" rtl="0" eaLnBrk="1" latinLnBrk="0" hangingPunct="1">
        <a:defRPr sz="3357" kern="1200">
          <a:solidFill>
            <a:schemeClr val="tx1"/>
          </a:solidFill>
          <a:latin typeface="+mn-lt"/>
          <a:ea typeface="+mn-ea"/>
          <a:cs typeface="+mn-cs"/>
        </a:defRPr>
      </a:lvl1pPr>
      <a:lvl2pPr marL="869615" algn="l" defTabSz="1739229" rtl="0" eaLnBrk="1" latinLnBrk="0" hangingPunct="1">
        <a:defRPr sz="3357" kern="1200">
          <a:solidFill>
            <a:schemeClr val="tx1"/>
          </a:solidFill>
          <a:latin typeface="+mn-lt"/>
          <a:ea typeface="+mn-ea"/>
          <a:cs typeface="+mn-cs"/>
        </a:defRPr>
      </a:lvl2pPr>
      <a:lvl3pPr marL="1739229" algn="l" defTabSz="1739229" rtl="0" eaLnBrk="1" latinLnBrk="0" hangingPunct="1">
        <a:defRPr sz="3357" kern="1200">
          <a:solidFill>
            <a:schemeClr val="tx1"/>
          </a:solidFill>
          <a:latin typeface="+mn-lt"/>
          <a:ea typeface="+mn-ea"/>
          <a:cs typeface="+mn-cs"/>
        </a:defRPr>
      </a:lvl3pPr>
      <a:lvl4pPr marL="2608844" algn="l" defTabSz="1739229" rtl="0" eaLnBrk="1" latinLnBrk="0" hangingPunct="1">
        <a:defRPr sz="3357" kern="1200">
          <a:solidFill>
            <a:schemeClr val="tx1"/>
          </a:solidFill>
          <a:latin typeface="+mn-lt"/>
          <a:ea typeface="+mn-ea"/>
          <a:cs typeface="+mn-cs"/>
        </a:defRPr>
      </a:lvl4pPr>
      <a:lvl5pPr marL="3478458" algn="l" defTabSz="1739229" rtl="0" eaLnBrk="1" latinLnBrk="0" hangingPunct="1">
        <a:defRPr sz="3357" kern="1200">
          <a:solidFill>
            <a:schemeClr val="tx1"/>
          </a:solidFill>
          <a:latin typeface="+mn-lt"/>
          <a:ea typeface="+mn-ea"/>
          <a:cs typeface="+mn-cs"/>
        </a:defRPr>
      </a:lvl5pPr>
      <a:lvl6pPr marL="4348074" algn="l" defTabSz="1739229" rtl="0" eaLnBrk="1" latinLnBrk="0" hangingPunct="1">
        <a:defRPr sz="3357" kern="1200">
          <a:solidFill>
            <a:schemeClr val="tx1"/>
          </a:solidFill>
          <a:latin typeface="+mn-lt"/>
          <a:ea typeface="+mn-ea"/>
          <a:cs typeface="+mn-cs"/>
        </a:defRPr>
      </a:lvl6pPr>
      <a:lvl7pPr marL="5217687" algn="l" defTabSz="1739229" rtl="0" eaLnBrk="1" latinLnBrk="0" hangingPunct="1">
        <a:defRPr sz="3357" kern="1200">
          <a:solidFill>
            <a:schemeClr val="tx1"/>
          </a:solidFill>
          <a:latin typeface="+mn-lt"/>
          <a:ea typeface="+mn-ea"/>
          <a:cs typeface="+mn-cs"/>
        </a:defRPr>
      </a:lvl7pPr>
      <a:lvl8pPr marL="6087303" algn="l" defTabSz="1739229" rtl="0" eaLnBrk="1" latinLnBrk="0" hangingPunct="1">
        <a:defRPr sz="3357" kern="1200">
          <a:solidFill>
            <a:schemeClr val="tx1"/>
          </a:solidFill>
          <a:latin typeface="+mn-lt"/>
          <a:ea typeface="+mn-ea"/>
          <a:cs typeface="+mn-cs"/>
        </a:defRPr>
      </a:lvl8pPr>
      <a:lvl9pPr marL="6956918" algn="l" defTabSz="1739229" rtl="0" eaLnBrk="1" latinLnBrk="0" hangingPunct="1">
        <a:defRPr sz="3357"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35">
          <p15:clr>
            <a:srgbClr val="C35EA4"/>
          </p15:clr>
        </p15:guide>
        <p15:guide id="17" pos="4663">
          <p15:clr>
            <a:srgbClr val="C35EA4"/>
          </p15:clr>
        </p15:guide>
        <p15:guide id="25" orient="horz" pos="630">
          <p15:clr>
            <a:srgbClr val="C35EA4"/>
          </p15:clr>
        </p15:guide>
        <p15:guide id="26" orient="horz" pos="1393">
          <p15:clr>
            <a:srgbClr val="C35EA4"/>
          </p15:clr>
        </p15:guide>
        <p15:guide id="27" orient="horz" pos="199">
          <p15:clr>
            <a:srgbClr val="A4A3A4"/>
          </p15:clr>
        </p15:guide>
        <p15:guide id="28" pos="118">
          <p15:clr>
            <a:srgbClr val="A4A3A4"/>
          </p15:clr>
        </p15:guide>
        <p15:guide id="29" orient="horz" pos="7159">
          <p15:clr>
            <a:srgbClr val="A4A3A4"/>
          </p15:clr>
        </p15:guide>
        <p15:guide id="30" pos="4778">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emf"/><Relationship Id="rId3" Type="http://schemas.openxmlformats.org/officeDocument/2006/relationships/slideLayout" Target="../slideLayouts/slideLayout1.xml"/><Relationship Id="rId7" Type="http://schemas.openxmlformats.org/officeDocument/2006/relationships/image" Target="../media/image3.png"/><Relationship Id="rId12" Type="http://schemas.openxmlformats.org/officeDocument/2006/relationships/image" Target="../media/image8.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11" Type="http://schemas.openxmlformats.org/officeDocument/2006/relationships/image" Target="../media/image7.emf"/><Relationship Id="rId5" Type="http://schemas.openxmlformats.org/officeDocument/2006/relationships/oleObject" Target="../embeddings/oleObject1.bin"/><Relationship Id="rId15" Type="http://schemas.openxmlformats.org/officeDocument/2006/relationships/image" Target="../media/image11.emf"/><Relationship Id="rId10" Type="http://schemas.openxmlformats.org/officeDocument/2006/relationships/image" Target="../media/image6.emf"/><Relationship Id="rId4" Type="http://schemas.openxmlformats.org/officeDocument/2006/relationships/notesSlide" Target="../notesSlides/notesSlide1.xml"/><Relationship Id="rId9" Type="http://schemas.openxmlformats.org/officeDocument/2006/relationships/image" Target="../media/image5.svg"/><Relationship Id="rId1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A249D2-9EE3-4037-99F5-C405D51E021D}"/>
              </a:ext>
            </a:extLst>
          </p:cNvPr>
          <p:cNvGraphicFramePr>
            <a:graphicFrameLocks noChangeAspect="1"/>
          </p:cNvGraphicFramePr>
          <p:nvPr>
            <p:custDataLst>
              <p:tags r:id="rId2"/>
            </p:custDataLst>
          </p:nvPr>
        </p:nvGraphicFramePr>
        <p:xfrm>
          <a:off x="1588" y="824707"/>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5" imgW="6350000" imgH="6350000" progId="">
                  <p:embed/>
                </p:oleObj>
              </mc:Choice>
              <mc:Fallback>
                <p:oleObj name="think-cell Slide" r:id="rId5" imgW="6350000" imgH="6350000" progId="">
                  <p:embed/>
                  <p:pic>
                    <p:nvPicPr>
                      <p:cNvPr id="6" name="Object 5" hidden="1">
                        <a:extLst>
                          <a:ext uri="{FF2B5EF4-FFF2-40B4-BE49-F238E27FC236}">
                            <a16:creationId xmlns:a16="http://schemas.microsoft.com/office/drawing/2014/main" id="{31A249D2-9EE3-4037-99F5-C405D51E02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824707"/>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215">
            <a:extLst>
              <a:ext uri="{FF2B5EF4-FFF2-40B4-BE49-F238E27FC236}">
                <a16:creationId xmlns:a16="http://schemas.microsoft.com/office/drawing/2014/main" id="{5CA304B9-D758-405B-8D68-ECD0786D38B0}"/>
              </a:ext>
            </a:extLst>
          </p:cNvPr>
          <p:cNvSpPr>
            <a:spLocks noGrp="1"/>
          </p:cNvSpPr>
          <p:nvPr>
            <p:ph type="body" sz="quarter" idx="10"/>
          </p:nvPr>
        </p:nvSpPr>
        <p:spPr>
          <a:xfrm>
            <a:off x="373065" y="961950"/>
            <a:ext cx="7029451" cy="590542"/>
          </a:xfrm>
        </p:spPr>
        <p:txBody>
          <a:bodyPr vert="horz" wrap="square" lIns="0" tIns="0" rIns="0" bIns="0" rtlCol="0" anchor="t">
            <a:noAutofit/>
          </a:bodyPr>
          <a:lstStyle/>
          <a:p>
            <a:endParaRPr lang="fr-fr" sz="2200" dirty="0">
              <a:cs typeface="Segoe UI Semibold"/>
            </a:endParaRPr>
          </a:p>
        </p:txBody>
      </p:sp>
      <p:sp>
        <p:nvSpPr>
          <p:cNvPr id="15" name="Rectangle 14">
            <a:extLst>
              <a:ext uri="{FF2B5EF4-FFF2-40B4-BE49-F238E27FC236}">
                <a16:creationId xmlns:a16="http://schemas.microsoft.com/office/drawing/2014/main" id="{E48D419F-1834-49EE-9DD4-39104E76A4EE}"/>
              </a:ext>
            </a:extLst>
          </p:cNvPr>
          <p:cNvSpPr/>
          <p:nvPr/>
        </p:nvSpPr>
        <p:spPr bwMode="auto">
          <a:xfrm>
            <a:off x="0" y="-2"/>
            <a:ext cx="7772400" cy="72035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7" name="Text Placeholder 1">
            <a:extLst>
              <a:ext uri="{FF2B5EF4-FFF2-40B4-BE49-F238E27FC236}">
                <a16:creationId xmlns:a16="http://schemas.microsoft.com/office/drawing/2014/main" id="{8A754138-D585-496F-ACCC-B26234CAF93C}"/>
              </a:ext>
            </a:extLst>
          </p:cNvPr>
          <p:cNvSpPr txBox="1">
            <a:spLocks/>
          </p:cNvSpPr>
          <p:nvPr/>
        </p:nvSpPr>
        <p:spPr>
          <a:xfrm>
            <a:off x="340494" y="799473"/>
            <a:ext cx="3545706" cy="2205225"/>
          </a:xfrm>
          <a:prstGeom prst="rect">
            <a:avLst/>
          </a:prstGeom>
          <a:noFill/>
        </p:spPr>
        <p:txBody>
          <a:bodyPr vert="horz" wrap="square" lIns="0" tIns="0" rIns="0" bIns="0" rtlCol="0" anchor="t">
            <a:spAutoFit/>
          </a:bodyPr>
          <a:lstStyle>
            <a:lvl1pPr marL="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fr-fr" sz="2218" kern="1200" spc="0" baseline="0" smtClean="0">
                <a:solidFill>
                  <a:schemeClr val="accent1"/>
                </a:solidFill>
                <a:latin typeface="+mj-lt"/>
                <a:ea typeface="+mn-ea"/>
                <a:cs typeface="+mn-cs"/>
              </a:defRPr>
            </a:lvl1pPr>
            <a:lvl2pPr marL="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fr-fr" sz="1224" kern="1200" spc="0" baseline="0" smtClean="0">
                <a:solidFill>
                  <a:schemeClr val="tx1"/>
                </a:solidFill>
                <a:latin typeface="+mn-lt"/>
                <a:ea typeface="+mn-ea"/>
                <a:cs typeface="+mn-cs"/>
              </a:defRPr>
            </a:lvl2pPr>
            <a:lvl3pPr marL="26101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fr-fr" sz="1224" kern="1200" spc="0" baseline="0" smtClean="0">
                <a:solidFill>
                  <a:schemeClr val="tx1"/>
                </a:solidFill>
                <a:latin typeface="+mn-lt"/>
                <a:ea typeface="+mn-ea"/>
                <a:cs typeface="+mn-cs"/>
              </a:defRPr>
            </a:lvl3pPr>
            <a:lvl4pPr marL="613525"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fr-fr" sz="1224" kern="1200" spc="0" baseline="0" smtClean="0">
                <a:solidFill>
                  <a:schemeClr val="tx1"/>
                </a:solidFill>
                <a:latin typeface="+mn-lt"/>
                <a:ea typeface="+mn-ea"/>
                <a:cs typeface="+mn-cs"/>
              </a:defRPr>
            </a:lvl4pPr>
            <a:lvl5pPr marL="954198"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fr-fr" sz="1224" kern="1200" spc="0" baseline="0">
                <a:solidFill>
                  <a:schemeClr val="tx1"/>
                </a:solidFill>
                <a:latin typeface="+mn-lt"/>
                <a:ea typeface="+mn-ea"/>
                <a:cs typeface="+mn-cs"/>
              </a:defRPr>
            </a:lvl5pPr>
            <a:lvl6pPr marL="4782879"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6pPr>
            <a:lvl7pPr marL="5652494"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7pPr>
            <a:lvl8pPr marL="6522110"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8pPr>
            <a:lvl9pPr marL="7391726"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9pPr>
          </a:lstStyle>
          <a:p>
            <a:pPr algn="l" rtl="0"/>
            <a:r>
              <a:rPr lang="fr-fr" sz="2800" b="0" i="0" u="none" baseline="0" dirty="0">
                <a:solidFill>
                  <a:schemeClr val="tx1"/>
                </a:solidFill>
              </a:rPr>
              <a:t>Exploitez en toute sécurité la puissance du cloud avec </a:t>
            </a:r>
            <a:r>
              <a:rPr lang="fr-fr" sz="2800" b="0" i="0" u="none" baseline="0" dirty="0"/>
              <a:t>Azure Advanced </a:t>
            </a:r>
            <a:r>
              <a:rPr lang="fr-fr" sz="2800" b="0" i="0" u="none" baseline="0" err="1"/>
              <a:t>Threat</a:t>
            </a:r>
            <a:r>
              <a:rPr lang="fr-fr" sz="2800" b="0" i="0" u="none" baseline="0" dirty="0"/>
              <a:t> Protection</a:t>
            </a:r>
            <a:endParaRPr lang="fr-fr" sz="2800" b="0" i="0" u="none" baseline="0" dirty="0">
              <a:cs typeface="Segoe UI Semibold"/>
            </a:endParaRPr>
          </a:p>
        </p:txBody>
      </p:sp>
      <p:pic>
        <p:nvPicPr>
          <p:cNvPr id="18" name="Picture 17" descr="A picture containing drawing&#10;&#10;Description automatically generated">
            <a:extLst>
              <a:ext uri="{FF2B5EF4-FFF2-40B4-BE49-F238E27FC236}">
                <a16:creationId xmlns:a16="http://schemas.microsoft.com/office/drawing/2014/main" id="{B3887F10-F244-4E15-BFCD-F09CF78B2F26}"/>
              </a:ext>
            </a:extLst>
          </p:cNvPr>
          <p:cNvPicPr>
            <a:picLocks noChangeAspect="1"/>
          </p:cNvPicPr>
          <p:nvPr/>
        </p:nvPicPr>
        <p:blipFill>
          <a:blip r:embed="rId7"/>
          <a:stretch>
            <a:fillRect/>
          </a:stretch>
        </p:blipFill>
        <p:spPr>
          <a:xfrm>
            <a:off x="89601" y="84820"/>
            <a:ext cx="1899539" cy="851385"/>
          </a:xfrm>
          <a:prstGeom prst="rect">
            <a:avLst/>
          </a:prstGeom>
        </p:spPr>
      </p:pic>
      <p:sp>
        <p:nvSpPr>
          <p:cNvPr id="22" name="TextBox 21">
            <a:extLst>
              <a:ext uri="{FF2B5EF4-FFF2-40B4-BE49-F238E27FC236}">
                <a16:creationId xmlns:a16="http://schemas.microsoft.com/office/drawing/2014/main" id="{139ED6F1-277C-4DFF-B3A7-263F6E95D5EB}"/>
              </a:ext>
            </a:extLst>
          </p:cNvPr>
          <p:cNvSpPr txBox="1"/>
          <p:nvPr/>
        </p:nvSpPr>
        <p:spPr>
          <a:xfrm>
            <a:off x="331945" y="9649101"/>
            <a:ext cx="2033997" cy="1477328"/>
          </a:xfrm>
          <a:prstGeom prst="rect">
            <a:avLst/>
          </a:prstGeom>
          <a:noFill/>
        </p:spPr>
        <p:txBody>
          <a:bodyPr wrap="square" lIns="0" tIns="0" rIns="0" bIns="0" anchor="t">
            <a:spAutoFit/>
          </a:bodyPr>
          <a:lstStyle/>
          <a:p>
            <a:pPr algn="ctr" rtl="0"/>
            <a:r>
              <a:rPr lang="fr-fr" sz="1600" b="0" i="0" u="none" baseline="0" dirty="0"/>
              <a:t>Microsoft investit plus de </a:t>
            </a:r>
            <a:r>
              <a:rPr lang="fr-fr" sz="1600" b="0" i="0" u="none" baseline="0" dirty="0">
                <a:latin typeface="+mj-lt"/>
              </a:rPr>
              <a:t>1 milliard USD</a:t>
            </a:r>
            <a:endParaRPr lang="fr-fr" sz="1600" b="0" i="0" u="none" baseline="0" dirty="0">
              <a:latin typeface="+mj-lt"/>
              <a:cs typeface="Segoe UI Semibold"/>
            </a:endParaRPr>
          </a:p>
          <a:p>
            <a:pPr algn="ctr"/>
            <a:r>
              <a:rPr lang="fr-fr" sz="1600" dirty="0">
                <a:latin typeface="+mj-lt"/>
              </a:rPr>
              <a:t> </a:t>
            </a:r>
            <a:r>
              <a:rPr lang="fr-fr" sz="1600" b="0" i="0" u="none" baseline="0" dirty="0">
                <a:latin typeface="+mj-lt"/>
              </a:rPr>
              <a:t>par an </a:t>
            </a:r>
            <a:r>
              <a:rPr lang="fr-fr" sz="1600" b="0" i="0" u="none" baseline="0" dirty="0"/>
              <a:t>dans la recherche et le développement </a:t>
            </a:r>
            <a:br>
              <a:rPr lang="fr-fr" sz="1600" b="0" i="0" u="none" baseline="0" dirty="0"/>
            </a:br>
            <a:r>
              <a:rPr lang="fr-fr" sz="1600" b="0" i="0" u="none" baseline="0" dirty="0"/>
              <a:t>de la cybersécurité</a:t>
            </a:r>
          </a:p>
        </p:txBody>
      </p:sp>
      <p:sp>
        <p:nvSpPr>
          <p:cNvPr id="23" name="TextBox 22">
            <a:extLst>
              <a:ext uri="{FF2B5EF4-FFF2-40B4-BE49-F238E27FC236}">
                <a16:creationId xmlns:a16="http://schemas.microsoft.com/office/drawing/2014/main" id="{CBE67812-2361-49A9-B9CF-62A664D37FC8}"/>
              </a:ext>
            </a:extLst>
          </p:cNvPr>
          <p:cNvSpPr txBox="1"/>
          <p:nvPr/>
        </p:nvSpPr>
        <p:spPr>
          <a:xfrm>
            <a:off x="2715591" y="9634738"/>
            <a:ext cx="2300207" cy="1477328"/>
          </a:xfrm>
          <a:prstGeom prst="rect">
            <a:avLst/>
          </a:prstGeom>
          <a:noFill/>
        </p:spPr>
        <p:txBody>
          <a:bodyPr wrap="square" lIns="0" tIns="0" rIns="0" bIns="0" anchor="t">
            <a:spAutoFit/>
          </a:bodyPr>
          <a:lstStyle/>
          <a:p>
            <a:pPr algn="ctr"/>
            <a:r>
              <a:rPr lang="fr-fr" sz="1600" b="0" i="0" u="none" baseline="0" dirty="0"/>
              <a:t>Microsoft emploie plus de </a:t>
            </a:r>
            <a:r>
              <a:rPr lang="fr-fr" sz="1600" b="0" i="0" u="none" baseline="0" dirty="0">
                <a:latin typeface="+mj-lt"/>
              </a:rPr>
              <a:t>3 500 experts en sécurité</a:t>
            </a:r>
            <a:r>
              <a:rPr lang="fr-fr" sz="1600" dirty="0">
                <a:latin typeface="+mj-lt"/>
              </a:rPr>
              <a:t> </a:t>
            </a:r>
            <a:r>
              <a:rPr lang="fr-fr" sz="1600" b="0" i="0" u="none" baseline="0" dirty="0"/>
              <a:t> entièrement dédiés à la sécurité </a:t>
            </a:r>
            <a:br>
              <a:rPr lang="fr-fr" sz="1600" b="0" i="0" u="none" baseline="0" dirty="0"/>
            </a:br>
            <a:r>
              <a:rPr lang="fr-fr" sz="1600" b="0" i="0" u="none" baseline="0" dirty="0"/>
              <a:t>et à la confidentialité </a:t>
            </a:r>
            <a:br>
              <a:rPr lang="fr-fr" sz="1600" b="0" i="0" u="none" baseline="0" dirty="0"/>
            </a:br>
            <a:r>
              <a:rPr lang="fr-fr" sz="1600" b="0" i="0" u="none" baseline="0" dirty="0"/>
              <a:t>des données</a:t>
            </a:r>
            <a:endParaRPr lang="fr-fr" sz="1600" b="0" i="0" u="none" baseline="0" dirty="0">
              <a:cs typeface="Segoe UI"/>
            </a:endParaRPr>
          </a:p>
        </p:txBody>
      </p:sp>
      <p:sp>
        <p:nvSpPr>
          <p:cNvPr id="24" name="TextBox 23">
            <a:extLst>
              <a:ext uri="{FF2B5EF4-FFF2-40B4-BE49-F238E27FC236}">
                <a16:creationId xmlns:a16="http://schemas.microsoft.com/office/drawing/2014/main" id="{30574AF1-C8A8-4B22-95E1-719C8DF62DC4}"/>
              </a:ext>
            </a:extLst>
          </p:cNvPr>
          <p:cNvSpPr txBox="1"/>
          <p:nvPr/>
        </p:nvSpPr>
        <p:spPr>
          <a:xfrm>
            <a:off x="5349884" y="9634738"/>
            <a:ext cx="1958057" cy="1231106"/>
          </a:xfrm>
          <a:prstGeom prst="rect">
            <a:avLst/>
          </a:prstGeom>
          <a:noFill/>
        </p:spPr>
        <p:txBody>
          <a:bodyPr wrap="square" lIns="0" tIns="0" rIns="0" bIns="0" anchor="t">
            <a:spAutoFit/>
          </a:bodyPr>
          <a:lstStyle/>
          <a:p>
            <a:pPr algn="ctr"/>
            <a:r>
              <a:rPr lang="fr-fr" sz="1600" b="0" i="0" u="none" baseline="0" dirty="0"/>
              <a:t>Azure offre</a:t>
            </a:r>
            <a:r>
              <a:rPr lang="fr-fr" sz="1600" dirty="0"/>
              <a:t> </a:t>
            </a:r>
            <a:endParaRPr lang="fr-fr" sz="1600" b="0" i="0" u="none" baseline="0" dirty="0">
              <a:cs typeface="Segoe UI"/>
            </a:endParaRPr>
          </a:p>
          <a:p>
            <a:pPr algn="ctr" rtl="0"/>
            <a:r>
              <a:rPr lang="fr-fr" sz="1600" b="0" i="0" u="none" baseline="0" dirty="0">
                <a:latin typeface="+mj-lt"/>
              </a:rPr>
              <a:t>plus de certifications de conformité </a:t>
            </a:r>
            <a:r>
              <a:rPr lang="fr-fr" sz="1600" b="0" i="0" u="none" baseline="0" dirty="0"/>
              <a:t>que n</a:t>
            </a:r>
            <a:r>
              <a:rPr lang="fr-FR" sz="1600" b="0" i="0" u="none" baseline="0" dirty="0"/>
              <a:t>’</a:t>
            </a:r>
            <a:r>
              <a:rPr lang="fr-fr" sz="1600" b="0" i="0" u="none" baseline="0" dirty="0"/>
              <a:t>importe quel autre fournisseur de cloud</a:t>
            </a:r>
          </a:p>
        </p:txBody>
      </p:sp>
      <p:sp>
        <p:nvSpPr>
          <p:cNvPr id="29" name="Freeform: Shape 28">
            <a:extLst>
              <a:ext uri="{FF2B5EF4-FFF2-40B4-BE49-F238E27FC236}">
                <a16:creationId xmlns:a16="http://schemas.microsoft.com/office/drawing/2014/main" id="{7A8B80E1-6D29-442A-A52A-5939BE8C8BB0}"/>
              </a:ext>
            </a:extLst>
          </p:cNvPr>
          <p:cNvSpPr/>
          <p:nvPr/>
        </p:nvSpPr>
        <p:spPr>
          <a:xfrm>
            <a:off x="5815690" y="8441733"/>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chemeClr val="bg1"/>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dirty="0">
              <a:cs typeface="Segoe UI"/>
            </a:endParaRPr>
          </a:p>
        </p:txBody>
      </p:sp>
      <p:sp>
        <p:nvSpPr>
          <p:cNvPr id="32" name="Freeform: Shape 31">
            <a:extLst>
              <a:ext uri="{FF2B5EF4-FFF2-40B4-BE49-F238E27FC236}">
                <a16:creationId xmlns:a16="http://schemas.microsoft.com/office/drawing/2014/main" id="{8B350EC5-B401-4111-B2E6-E5F0B887F156}"/>
              </a:ext>
            </a:extLst>
          </p:cNvPr>
          <p:cNvSpPr/>
          <p:nvPr/>
        </p:nvSpPr>
        <p:spPr>
          <a:xfrm>
            <a:off x="3329764" y="8457097"/>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chemeClr val="bg1"/>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dirty="0">
              <a:cs typeface="Segoe UI"/>
            </a:endParaRPr>
          </a:p>
        </p:txBody>
      </p:sp>
      <p:sp>
        <p:nvSpPr>
          <p:cNvPr id="38" name="Freeform: Shape 37">
            <a:extLst>
              <a:ext uri="{FF2B5EF4-FFF2-40B4-BE49-F238E27FC236}">
                <a16:creationId xmlns:a16="http://schemas.microsoft.com/office/drawing/2014/main" id="{FC52F91C-A41E-4638-84B9-19FA7A23533B}"/>
              </a:ext>
            </a:extLst>
          </p:cNvPr>
          <p:cNvSpPr/>
          <p:nvPr/>
        </p:nvSpPr>
        <p:spPr>
          <a:xfrm>
            <a:off x="843838" y="8457097"/>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chemeClr val="bg1"/>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dirty="0">
              <a:cs typeface="Segoe UI"/>
            </a:endParaRPr>
          </a:p>
        </p:txBody>
      </p:sp>
      <p:pic>
        <p:nvPicPr>
          <p:cNvPr id="47" name="Graphic 46">
            <a:extLst>
              <a:ext uri="{FF2B5EF4-FFF2-40B4-BE49-F238E27FC236}">
                <a16:creationId xmlns:a16="http://schemas.microsoft.com/office/drawing/2014/main" id="{80A76804-DD1F-4C78-A136-3510FADD30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69235" y="-346295"/>
            <a:ext cx="4076123" cy="3578738"/>
          </a:xfrm>
          <a:prstGeom prst="rect">
            <a:avLst/>
          </a:prstGeom>
        </p:spPr>
      </p:pic>
      <p:sp>
        <p:nvSpPr>
          <p:cNvPr id="48" name="Text Placeholder 1">
            <a:extLst>
              <a:ext uri="{FF2B5EF4-FFF2-40B4-BE49-F238E27FC236}">
                <a16:creationId xmlns:a16="http://schemas.microsoft.com/office/drawing/2014/main" id="{554813D2-4349-4B85-B2D7-5B61E5136688}"/>
              </a:ext>
            </a:extLst>
          </p:cNvPr>
          <p:cNvSpPr txBox="1">
            <a:spLocks/>
          </p:cNvSpPr>
          <p:nvPr/>
        </p:nvSpPr>
        <p:spPr>
          <a:xfrm>
            <a:off x="161570" y="7468885"/>
            <a:ext cx="7431907" cy="430887"/>
          </a:xfrm>
          <a:prstGeom prst="rect">
            <a:avLst/>
          </a:prstGeom>
          <a:noFill/>
        </p:spPr>
        <p:txBody>
          <a:bodyPr vert="horz" wrap="square" lIns="0" tIns="0" rIns="0" bIns="0" rtlCol="0" anchor="t">
            <a:spAutoFit/>
          </a:bodyPr>
          <a:lstStyle>
            <a:lvl1pPr marL="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fr-fr" sz="2218" kern="1200" spc="0" baseline="0" smtClean="0">
                <a:solidFill>
                  <a:schemeClr val="accent1"/>
                </a:solidFill>
                <a:latin typeface="+mj-lt"/>
                <a:ea typeface="+mn-ea"/>
                <a:cs typeface="+mn-cs"/>
              </a:defRPr>
            </a:lvl1pPr>
            <a:lvl2pPr marL="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fr-fr" sz="1224" kern="1200" spc="0" baseline="0" smtClean="0">
                <a:solidFill>
                  <a:schemeClr val="tx1"/>
                </a:solidFill>
                <a:latin typeface="+mn-lt"/>
                <a:ea typeface="+mn-ea"/>
                <a:cs typeface="+mn-cs"/>
              </a:defRPr>
            </a:lvl2pPr>
            <a:lvl3pPr marL="26101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fr-fr" sz="1224" kern="1200" spc="0" baseline="0" smtClean="0">
                <a:solidFill>
                  <a:schemeClr val="tx1"/>
                </a:solidFill>
                <a:latin typeface="+mn-lt"/>
                <a:ea typeface="+mn-ea"/>
                <a:cs typeface="+mn-cs"/>
              </a:defRPr>
            </a:lvl3pPr>
            <a:lvl4pPr marL="613525"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fr-fr" sz="1224" kern="1200" spc="0" baseline="0" smtClean="0">
                <a:solidFill>
                  <a:schemeClr val="tx1"/>
                </a:solidFill>
                <a:latin typeface="+mn-lt"/>
                <a:ea typeface="+mn-ea"/>
                <a:cs typeface="+mn-cs"/>
              </a:defRPr>
            </a:lvl4pPr>
            <a:lvl5pPr marL="954198"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fr-fr" sz="1224" kern="1200" spc="0" baseline="0">
                <a:solidFill>
                  <a:schemeClr val="tx1"/>
                </a:solidFill>
                <a:latin typeface="+mn-lt"/>
                <a:ea typeface="+mn-ea"/>
                <a:cs typeface="+mn-cs"/>
              </a:defRPr>
            </a:lvl5pPr>
            <a:lvl6pPr marL="4782879"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6pPr>
            <a:lvl7pPr marL="5652494"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7pPr>
            <a:lvl8pPr marL="6522110"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8pPr>
            <a:lvl9pPr marL="7391726"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9pPr>
          </a:lstStyle>
          <a:p>
            <a:pPr algn="ctr" rtl="0"/>
            <a:r>
              <a:rPr lang="fr-fr" sz="2800" b="0" i="0" u="none" baseline="0" dirty="0">
                <a:solidFill>
                  <a:schemeClr val="tx1"/>
                </a:solidFill>
              </a:rPr>
              <a:t>Pourquoi confier votre sécurité à Microsoft ?</a:t>
            </a:r>
            <a:endParaRPr lang="fr-fr" sz="2800">
              <a:solidFill>
                <a:schemeClr val="tx1"/>
              </a:solidFill>
              <a:cs typeface="Segoe UI Semibold"/>
            </a:endParaRPr>
          </a:p>
        </p:txBody>
      </p:sp>
      <p:sp>
        <p:nvSpPr>
          <p:cNvPr id="20" name="TextBox 19">
            <a:extLst>
              <a:ext uri="{FF2B5EF4-FFF2-40B4-BE49-F238E27FC236}">
                <a16:creationId xmlns:a16="http://schemas.microsoft.com/office/drawing/2014/main" id="{91FACA9C-D736-47D6-A629-50AE3F6ED786}"/>
              </a:ext>
            </a:extLst>
          </p:cNvPr>
          <p:cNvSpPr txBox="1"/>
          <p:nvPr/>
        </p:nvSpPr>
        <p:spPr>
          <a:xfrm>
            <a:off x="397915" y="4901608"/>
            <a:ext cx="2137236" cy="646331"/>
          </a:xfrm>
          <a:prstGeom prst="rect">
            <a:avLst/>
          </a:prstGeom>
          <a:noFill/>
        </p:spPr>
        <p:txBody>
          <a:bodyPr wrap="square" lIns="0" tIns="0" rIns="0" bIns="0" anchor="t">
            <a:spAutoFit/>
          </a:bodyPr>
          <a:lstStyle/>
          <a:p>
            <a:pPr lvl="0" algn="ctr" defTabSz="914367" rtl="0">
              <a:defRPr/>
            </a:pPr>
            <a:r>
              <a:rPr kumimoji="0" lang="fr-fr" sz="1400" b="0" i="0" u="none" strike="noStrike" kern="1200" cap="none" spc="0" normalizeH="0" baseline="0" dirty="0">
                <a:ln>
                  <a:noFill/>
                </a:ln>
                <a:solidFill>
                  <a:schemeClr val="accent1"/>
                </a:solidFill>
                <a:effectLst/>
                <a:uLnTx/>
                <a:uFillTx/>
                <a:latin typeface="+mj-lt"/>
                <a:ea typeface="+mn-ea"/>
                <a:cs typeface="+mn-cs"/>
              </a:rPr>
              <a:t>Bénéficiez d</a:t>
            </a:r>
            <a:r>
              <a:rPr kumimoji="0" lang="fr-FR" sz="1400" b="0" i="0" u="none" strike="noStrike" kern="1200" cap="none" spc="0" normalizeH="0" baseline="0" dirty="0">
                <a:ln>
                  <a:noFill/>
                </a:ln>
                <a:solidFill>
                  <a:schemeClr val="accent1"/>
                </a:solidFill>
                <a:effectLst/>
                <a:uLnTx/>
                <a:uFillTx/>
                <a:latin typeface="+mj-lt"/>
                <a:ea typeface="+mn-ea"/>
                <a:cs typeface="+mn-cs"/>
              </a:rPr>
              <a:t>’</a:t>
            </a:r>
            <a:r>
              <a:rPr kumimoji="0" lang="fr-fr" sz="1400" b="0" i="0" u="none" strike="noStrike" kern="1200" cap="none" spc="0" normalizeH="0" baseline="0" dirty="0">
                <a:ln>
                  <a:noFill/>
                </a:ln>
                <a:solidFill>
                  <a:schemeClr val="accent1"/>
                </a:solidFill>
                <a:effectLst/>
                <a:uLnTx/>
                <a:uFillTx/>
                <a:latin typeface="+mj-lt"/>
                <a:ea typeface="+mn-ea"/>
                <a:cs typeface="+mn-cs"/>
              </a:rPr>
              <a:t>une sécurité en temps réel </a:t>
            </a:r>
            <a:r>
              <a:rPr lang="fr-fr" sz="1400" b="0" i="0" u="none" baseline="0" dirty="0">
                <a:solidFill>
                  <a:schemeClr val="accent1"/>
                </a:solidFill>
                <a:latin typeface="+mj-lt"/>
              </a:rPr>
              <a:t>à l</a:t>
            </a:r>
            <a:r>
              <a:rPr lang="fr-FR" sz="1400" b="0" i="0" u="none" baseline="0" dirty="0">
                <a:solidFill>
                  <a:schemeClr val="accent1"/>
                </a:solidFill>
                <a:latin typeface="+mj-lt"/>
              </a:rPr>
              <a:t>’</a:t>
            </a:r>
            <a:r>
              <a:rPr lang="fr-fr" sz="1400" b="0" i="0" u="none" baseline="0" dirty="0">
                <a:solidFill>
                  <a:schemeClr val="accent1"/>
                </a:solidFill>
                <a:latin typeface="+mj-lt"/>
              </a:rPr>
              <a:t>échelle de l</a:t>
            </a:r>
            <a:r>
              <a:rPr lang="fr-FR" sz="1400" b="0" i="0" u="none" baseline="0" dirty="0">
                <a:solidFill>
                  <a:schemeClr val="accent1"/>
                </a:solidFill>
                <a:latin typeface="+mj-lt"/>
              </a:rPr>
              <a:t>’</a:t>
            </a:r>
            <a:r>
              <a:rPr lang="fr-fr" sz="1400" b="0" i="0" u="none" baseline="0" dirty="0">
                <a:solidFill>
                  <a:schemeClr val="accent1"/>
                </a:solidFill>
                <a:latin typeface="+mj-lt"/>
              </a:rPr>
              <a:t>entreprise</a:t>
            </a:r>
            <a:endParaRPr lang="fr-fr" sz="1400" b="0" i="0" u="none" baseline="0" dirty="0">
              <a:solidFill>
                <a:schemeClr val="accent1"/>
              </a:solidFill>
              <a:latin typeface="+mj-lt"/>
              <a:cs typeface="Segoe UI Semibold"/>
            </a:endParaRPr>
          </a:p>
        </p:txBody>
      </p:sp>
      <p:sp>
        <p:nvSpPr>
          <p:cNvPr id="3" name="Rectangle 2">
            <a:extLst>
              <a:ext uri="{FF2B5EF4-FFF2-40B4-BE49-F238E27FC236}">
                <a16:creationId xmlns:a16="http://schemas.microsoft.com/office/drawing/2014/main" id="{2B54012A-4C47-4B8F-9C32-26B291DA09F7}"/>
              </a:ext>
            </a:extLst>
          </p:cNvPr>
          <p:cNvSpPr/>
          <p:nvPr/>
        </p:nvSpPr>
        <p:spPr>
          <a:xfrm>
            <a:off x="397915" y="5720618"/>
            <a:ext cx="2137236" cy="1384995"/>
          </a:xfrm>
          <a:prstGeom prst="rect">
            <a:avLst/>
          </a:prstGeom>
        </p:spPr>
        <p:txBody>
          <a:bodyPr wrap="square" anchor="t">
            <a:spAutoFit/>
          </a:bodyPr>
          <a:lstStyle/>
          <a:p>
            <a:pPr algn="ctr"/>
            <a:r>
              <a:rPr lang="fr-fr" sz="1200" b="0" i="0" u="none" baseline="0" dirty="0">
                <a:latin typeface="Segoe UI"/>
                <a:cs typeface="Segoe UI"/>
              </a:rPr>
              <a:t>Utilisez la puissance et l</a:t>
            </a:r>
            <a:r>
              <a:rPr lang="fr-FR" sz="1200" b="0" i="0" u="none" baseline="0" dirty="0">
                <a:latin typeface="Segoe UI"/>
                <a:cs typeface="Segoe UI"/>
              </a:rPr>
              <a:t>’</a:t>
            </a:r>
            <a:r>
              <a:rPr lang="fr-fr" sz="1200" b="0" i="0" u="none" baseline="0" dirty="0">
                <a:latin typeface="Segoe UI"/>
                <a:cs typeface="Segoe UI"/>
              </a:rPr>
              <a:t>échelle du cloud </a:t>
            </a:r>
            <a:r>
              <a:rPr lang="fr-FR" sz="1200" dirty="0">
                <a:latin typeface="Segoe UI"/>
                <a:cs typeface="Segoe UI"/>
              </a:rPr>
              <a:t>pour vous aider </a:t>
            </a:r>
            <a:r>
              <a:rPr lang="fr-fr" sz="1200" b="0" i="0" u="none" baseline="0" dirty="0">
                <a:latin typeface="Segoe UI"/>
                <a:cs typeface="Segoe UI"/>
              </a:rPr>
              <a:t>à lutter contre des menaces de plus en plus importantes en termes de fréquence, de sévérité et de sophistication.</a:t>
            </a:r>
            <a:r>
              <a:rPr lang="fr-fr" sz="1200" dirty="0">
                <a:latin typeface="Segoe UI"/>
                <a:cs typeface="Segoe UI"/>
              </a:rPr>
              <a:t> </a:t>
            </a:r>
            <a:endParaRPr lang="fr-fr" sz="1200" b="0" i="0" u="none" baseline="0" dirty="0">
              <a:latin typeface="Segoe UI" panose="020B0502040204020203" pitchFamily="34" charset="0"/>
              <a:cs typeface="Segoe UI" panose="020B0502040204020203" pitchFamily="34" charset="0"/>
            </a:endParaRPr>
          </a:p>
        </p:txBody>
      </p:sp>
      <p:sp>
        <p:nvSpPr>
          <p:cNvPr id="49" name="TextBox 48">
            <a:extLst>
              <a:ext uri="{FF2B5EF4-FFF2-40B4-BE49-F238E27FC236}">
                <a16:creationId xmlns:a16="http://schemas.microsoft.com/office/drawing/2014/main" id="{54A4CBAD-36E2-4E86-88CC-9B437D8BAA37}"/>
              </a:ext>
            </a:extLst>
          </p:cNvPr>
          <p:cNvSpPr txBox="1"/>
          <p:nvPr/>
        </p:nvSpPr>
        <p:spPr>
          <a:xfrm>
            <a:off x="3030384" y="4901608"/>
            <a:ext cx="1985414" cy="738664"/>
          </a:xfrm>
          <a:prstGeom prst="rect">
            <a:avLst/>
          </a:prstGeom>
          <a:noFill/>
        </p:spPr>
        <p:txBody>
          <a:bodyPr wrap="square" rtlCol="0" anchor="t">
            <a:spAutoFit/>
          </a:bodyPr>
          <a:lstStyle/>
          <a:p>
            <a:pPr algn="ctr" rtl="0"/>
            <a:r>
              <a:rPr lang="fr-fr" sz="1400" b="0" i="0" u="none" baseline="0" dirty="0">
                <a:solidFill>
                  <a:schemeClr val="accent1"/>
                </a:solidFill>
                <a:latin typeface="+mj-lt"/>
              </a:rPr>
              <a:t>Détectez </a:t>
            </a:r>
            <a:br>
              <a:rPr lang="fr-fr" sz="1400" b="0" i="0" u="none" baseline="0" dirty="0">
                <a:solidFill>
                  <a:schemeClr val="accent1"/>
                </a:solidFill>
                <a:latin typeface="+mj-lt"/>
              </a:rPr>
            </a:br>
            <a:r>
              <a:rPr lang="fr-fr" sz="1400" b="0" i="0" u="none" baseline="0" dirty="0">
                <a:solidFill>
                  <a:schemeClr val="accent1"/>
                </a:solidFill>
                <a:latin typeface="+mj-lt"/>
              </a:rPr>
              <a:t>rapidement les menaces</a:t>
            </a:r>
            <a:endParaRPr lang="fr-fr" sz="1400" b="0" i="0" u="none" baseline="0" dirty="0">
              <a:solidFill>
                <a:schemeClr val="accent1"/>
              </a:solidFill>
              <a:latin typeface="+mj-lt"/>
              <a:cs typeface="Segoe UI Semibold"/>
            </a:endParaRPr>
          </a:p>
        </p:txBody>
      </p:sp>
      <p:sp>
        <p:nvSpPr>
          <p:cNvPr id="50" name="TextBox 49">
            <a:extLst>
              <a:ext uri="{FF2B5EF4-FFF2-40B4-BE49-F238E27FC236}">
                <a16:creationId xmlns:a16="http://schemas.microsoft.com/office/drawing/2014/main" id="{34D0F5A5-B730-444A-A92A-46DCBCACF6F6}"/>
              </a:ext>
            </a:extLst>
          </p:cNvPr>
          <p:cNvSpPr txBox="1"/>
          <p:nvPr/>
        </p:nvSpPr>
        <p:spPr>
          <a:xfrm>
            <a:off x="2900030" y="5720618"/>
            <a:ext cx="2226335" cy="1384995"/>
          </a:xfrm>
          <a:prstGeom prst="rect">
            <a:avLst/>
          </a:prstGeom>
          <a:noFill/>
        </p:spPr>
        <p:txBody>
          <a:bodyPr wrap="square" rtlCol="0" anchor="t">
            <a:spAutoFit/>
          </a:bodyPr>
          <a:lstStyle/>
          <a:p>
            <a:pPr algn="ctr"/>
            <a:r>
              <a:rPr lang="fr-fr" sz="1200" b="0" i="0" u="none" baseline="0" dirty="0">
                <a:latin typeface="Segoe UI"/>
                <a:cs typeface="Segoe UI"/>
              </a:rPr>
              <a:t>Azure Advanced </a:t>
            </a:r>
            <a:r>
              <a:rPr lang="fr-fr" sz="1200" b="0" i="0" u="none" baseline="0" err="1">
                <a:latin typeface="Segoe UI"/>
                <a:cs typeface="Segoe UI"/>
              </a:rPr>
              <a:t>Threat</a:t>
            </a:r>
            <a:r>
              <a:rPr lang="fr-fr" sz="1200" b="0" i="0" u="none" baseline="0" dirty="0">
                <a:latin typeface="Segoe UI"/>
                <a:cs typeface="Segoe UI"/>
              </a:rPr>
              <a:t> Protection surveille le comportement des utilisateurs, des appareils et des ressources et détecte immédiatement les anomalies.</a:t>
            </a:r>
            <a:r>
              <a:rPr lang="fr-fr" sz="1200" dirty="0">
                <a:latin typeface="Segoe UI"/>
                <a:cs typeface="Segoe UI"/>
              </a:rPr>
              <a:t> </a:t>
            </a:r>
            <a:endParaRPr lang="fr-fr" sz="1200" b="0" i="0" u="none" baseline="0" dirty="0">
              <a:latin typeface="Segoe UI" panose="020B0502040204020203" pitchFamily="34" charset="0"/>
              <a:cs typeface="Segoe UI" panose="020B0502040204020203" pitchFamily="34" charset="0"/>
            </a:endParaRPr>
          </a:p>
        </p:txBody>
      </p:sp>
      <p:sp>
        <p:nvSpPr>
          <p:cNvPr id="51" name="TextBox 50">
            <a:extLst>
              <a:ext uri="{FF2B5EF4-FFF2-40B4-BE49-F238E27FC236}">
                <a16:creationId xmlns:a16="http://schemas.microsoft.com/office/drawing/2014/main" id="{FA215087-A72F-4D17-93FB-5D238D0F969C}"/>
              </a:ext>
            </a:extLst>
          </p:cNvPr>
          <p:cNvSpPr txBox="1"/>
          <p:nvPr/>
        </p:nvSpPr>
        <p:spPr>
          <a:xfrm>
            <a:off x="4912684" y="4901608"/>
            <a:ext cx="2819400" cy="738664"/>
          </a:xfrm>
          <a:prstGeom prst="rect">
            <a:avLst/>
          </a:prstGeom>
          <a:noFill/>
        </p:spPr>
        <p:txBody>
          <a:bodyPr wrap="square" rtlCol="0" anchor="t">
            <a:spAutoFit/>
          </a:bodyPr>
          <a:lstStyle/>
          <a:p>
            <a:pPr algn="ctr" rtl="0"/>
            <a:r>
              <a:rPr lang="fr-fr" sz="1400" b="0" i="0" u="none" baseline="0" dirty="0">
                <a:solidFill>
                  <a:schemeClr val="accent1"/>
                </a:solidFill>
                <a:latin typeface="+mj-lt"/>
              </a:rPr>
              <a:t>Restez concentré </a:t>
            </a:r>
            <a:br>
              <a:rPr lang="fr-fr" sz="1400" dirty="0">
                <a:solidFill>
                  <a:schemeClr val="accent1"/>
                </a:solidFill>
                <a:latin typeface="+mj-lt"/>
              </a:rPr>
            </a:br>
            <a:r>
              <a:rPr lang="fr-fr" sz="1400" b="0" i="0" u="none" baseline="0" dirty="0">
                <a:solidFill>
                  <a:schemeClr val="accent1"/>
                </a:solidFill>
                <a:latin typeface="+mj-lt"/>
              </a:rPr>
              <a:t>sur ce qui </a:t>
            </a:r>
            <a:br>
              <a:rPr lang="fr-fr" sz="1400" b="0" i="0" u="none" baseline="0" dirty="0">
                <a:solidFill>
                  <a:schemeClr val="accent1"/>
                </a:solidFill>
                <a:latin typeface="+mj-lt"/>
              </a:rPr>
            </a:br>
            <a:r>
              <a:rPr lang="fr-fr" sz="1400" b="0" i="0" u="none" baseline="0" dirty="0">
                <a:solidFill>
                  <a:schemeClr val="accent1"/>
                </a:solidFill>
                <a:latin typeface="+mj-lt"/>
              </a:rPr>
              <a:t>est important</a:t>
            </a:r>
            <a:endParaRPr lang="fr-fr" sz="1400" b="0" i="0" u="none" baseline="0" dirty="0">
              <a:solidFill>
                <a:schemeClr val="accent1"/>
              </a:solidFill>
              <a:latin typeface="+mj-lt"/>
              <a:cs typeface="Segoe UI Semibold"/>
            </a:endParaRPr>
          </a:p>
        </p:txBody>
      </p:sp>
      <p:sp>
        <p:nvSpPr>
          <p:cNvPr id="52" name="TextBox 51">
            <a:extLst>
              <a:ext uri="{FF2B5EF4-FFF2-40B4-BE49-F238E27FC236}">
                <a16:creationId xmlns:a16="http://schemas.microsoft.com/office/drawing/2014/main" id="{DB37610B-8AC0-4829-8E27-313A4AE5A3D0}"/>
              </a:ext>
            </a:extLst>
          </p:cNvPr>
          <p:cNvSpPr txBox="1"/>
          <p:nvPr/>
        </p:nvSpPr>
        <p:spPr>
          <a:xfrm>
            <a:off x="5358978" y="5720618"/>
            <a:ext cx="1926812" cy="1200329"/>
          </a:xfrm>
          <a:prstGeom prst="rect">
            <a:avLst/>
          </a:prstGeom>
          <a:noFill/>
        </p:spPr>
        <p:txBody>
          <a:bodyPr wrap="square" rtlCol="0" anchor="t">
            <a:spAutoFit/>
          </a:bodyPr>
          <a:lstStyle/>
          <a:p>
            <a:pPr algn="ctr"/>
            <a:r>
              <a:rPr lang="fr-fr" sz="1200" b="0" i="0" u="none" baseline="0" dirty="0">
                <a:latin typeface="Segoe UI"/>
                <a:cs typeface="Segoe UI"/>
              </a:rPr>
              <a:t>Bénéficiez d</a:t>
            </a:r>
            <a:r>
              <a:rPr lang="fr-FR" sz="1200" b="0" i="0" u="none" baseline="0" dirty="0">
                <a:latin typeface="Segoe UI"/>
                <a:cs typeface="Segoe UI"/>
              </a:rPr>
              <a:t>’</a:t>
            </a:r>
            <a:r>
              <a:rPr lang="fr-fr" sz="1200" b="0" i="0" u="none" baseline="0" dirty="0">
                <a:latin typeface="Segoe UI"/>
                <a:cs typeface="Segoe UI"/>
              </a:rPr>
              <a:t>un flux clair, efficace et pratique faisant apparaître les problèmes pertinents sur une chronologie d</a:t>
            </a:r>
            <a:r>
              <a:rPr lang="fr-FR" sz="1200" b="0" i="0" u="none" baseline="0" dirty="0">
                <a:latin typeface="Segoe UI"/>
                <a:cs typeface="Segoe UI"/>
              </a:rPr>
              <a:t>’</a:t>
            </a:r>
            <a:r>
              <a:rPr lang="fr-fr" sz="1200" b="0" i="0" u="none" baseline="0" dirty="0">
                <a:latin typeface="Segoe UI"/>
                <a:cs typeface="Segoe UI"/>
              </a:rPr>
              <a:t>attaque simple.</a:t>
            </a:r>
            <a:r>
              <a:rPr lang="fr-fr" sz="1200" dirty="0">
                <a:latin typeface="Segoe UI"/>
                <a:cs typeface="Segoe UI"/>
              </a:rPr>
              <a:t> </a:t>
            </a:r>
            <a:endParaRPr lang="fr-fr" sz="1200" b="0" i="0" u="none" baseline="0" dirty="0">
              <a:latin typeface="Segoe UI" panose="020B0502040204020203" pitchFamily="34" charset="0"/>
              <a:cs typeface="Segoe UI" panose="020B0502040204020203" pitchFamily="34" charset="0"/>
            </a:endParaRPr>
          </a:p>
        </p:txBody>
      </p:sp>
      <p:sp>
        <p:nvSpPr>
          <p:cNvPr id="53" name="Freeform: Shape 52">
            <a:extLst>
              <a:ext uri="{FF2B5EF4-FFF2-40B4-BE49-F238E27FC236}">
                <a16:creationId xmlns:a16="http://schemas.microsoft.com/office/drawing/2014/main" id="{95D171C9-84E2-4E59-BBC5-421504ED3D7C}"/>
              </a:ext>
            </a:extLst>
          </p:cNvPr>
          <p:cNvSpPr/>
          <p:nvPr/>
        </p:nvSpPr>
        <p:spPr>
          <a:xfrm>
            <a:off x="5968090" y="3605622"/>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rgbClr val="F2F2F2"/>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dirty="0">
              <a:cs typeface="Segoe UI"/>
            </a:endParaRPr>
          </a:p>
        </p:txBody>
      </p:sp>
      <p:sp>
        <p:nvSpPr>
          <p:cNvPr id="54" name="Freeform: Shape 53">
            <a:extLst>
              <a:ext uri="{FF2B5EF4-FFF2-40B4-BE49-F238E27FC236}">
                <a16:creationId xmlns:a16="http://schemas.microsoft.com/office/drawing/2014/main" id="{1E29F736-9B94-44CC-BEB6-BAEC4E68750C}"/>
              </a:ext>
            </a:extLst>
          </p:cNvPr>
          <p:cNvSpPr/>
          <p:nvPr/>
        </p:nvSpPr>
        <p:spPr>
          <a:xfrm>
            <a:off x="3482164" y="3620986"/>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rgbClr val="F2F2F2"/>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dirty="0">
              <a:cs typeface="Segoe UI"/>
            </a:endParaRPr>
          </a:p>
        </p:txBody>
      </p:sp>
      <p:sp>
        <p:nvSpPr>
          <p:cNvPr id="55" name="Freeform: Shape 54">
            <a:extLst>
              <a:ext uri="{FF2B5EF4-FFF2-40B4-BE49-F238E27FC236}">
                <a16:creationId xmlns:a16="http://schemas.microsoft.com/office/drawing/2014/main" id="{A87377BB-BD0E-4BE9-BD9E-5C715C2607B4}"/>
              </a:ext>
            </a:extLst>
          </p:cNvPr>
          <p:cNvSpPr/>
          <p:nvPr/>
        </p:nvSpPr>
        <p:spPr>
          <a:xfrm>
            <a:off x="996238" y="3620986"/>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rgbClr val="F2F2F2"/>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dirty="0">
              <a:cs typeface="Segoe UI"/>
            </a:endParaRPr>
          </a:p>
        </p:txBody>
      </p:sp>
      <p:pic>
        <p:nvPicPr>
          <p:cNvPr id="56" name="Picture 55">
            <a:extLst>
              <a:ext uri="{FF2B5EF4-FFF2-40B4-BE49-F238E27FC236}">
                <a16:creationId xmlns:a16="http://schemas.microsoft.com/office/drawing/2014/main" id="{7CD5B879-E7D7-45D1-9587-B440E4DA0081}"/>
              </a:ext>
            </a:extLst>
          </p:cNvPr>
          <p:cNvPicPr>
            <a:picLocks noChangeAspect="1"/>
          </p:cNvPicPr>
          <p:nvPr/>
        </p:nvPicPr>
        <p:blipFill>
          <a:blip r:embed="rId10"/>
          <a:stretch>
            <a:fillRect/>
          </a:stretch>
        </p:blipFill>
        <p:spPr>
          <a:xfrm>
            <a:off x="1244588" y="3843616"/>
            <a:ext cx="553646" cy="553646"/>
          </a:xfrm>
          <a:prstGeom prst="rect">
            <a:avLst/>
          </a:prstGeom>
        </p:spPr>
      </p:pic>
      <p:pic>
        <p:nvPicPr>
          <p:cNvPr id="57" name="Picture 56">
            <a:extLst>
              <a:ext uri="{FF2B5EF4-FFF2-40B4-BE49-F238E27FC236}">
                <a16:creationId xmlns:a16="http://schemas.microsoft.com/office/drawing/2014/main" id="{21BE270A-CE7D-4773-8EBF-A1DAC8FADCE7}"/>
              </a:ext>
            </a:extLst>
          </p:cNvPr>
          <p:cNvPicPr>
            <a:picLocks noChangeAspect="1"/>
          </p:cNvPicPr>
          <p:nvPr/>
        </p:nvPicPr>
        <p:blipFill>
          <a:blip r:embed="rId11"/>
          <a:stretch>
            <a:fillRect/>
          </a:stretch>
        </p:blipFill>
        <p:spPr>
          <a:xfrm>
            <a:off x="6187029" y="3846442"/>
            <a:ext cx="575510" cy="575510"/>
          </a:xfrm>
          <a:prstGeom prst="rect">
            <a:avLst/>
          </a:prstGeom>
        </p:spPr>
      </p:pic>
      <p:pic>
        <p:nvPicPr>
          <p:cNvPr id="58" name="Picture 57">
            <a:extLst>
              <a:ext uri="{FF2B5EF4-FFF2-40B4-BE49-F238E27FC236}">
                <a16:creationId xmlns:a16="http://schemas.microsoft.com/office/drawing/2014/main" id="{F39A5761-3760-41B0-8CA2-6DAA1C3B4C69}"/>
              </a:ext>
            </a:extLst>
          </p:cNvPr>
          <p:cNvPicPr>
            <a:picLocks noChangeAspect="1"/>
          </p:cNvPicPr>
          <p:nvPr/>
        </p:nvPicPr>
        <p:blipFill>
          <a:blip r:embed="rId12"/>
          <a:stretch>
            <a:fillRect/>
          </a:stretch>
        </p:blipFill>
        <p:spPr>
          <a:xfrm>
            <a:off x="3711916" y="3851626"/>
            <a:ext cx="553883" cy="553883"/>
          </a:xfrm>
          <a:prstGeom prst="rect">
            <a:avLst/>
          </a:prstGeom>
        </p:spPr>
      </p:pic>
      <p:pic>
        <p:nvPicPr>
          <p:cNvPr id="59" name="Picture 58">
            <a:extLst>
              <a:ext uri="{FF2B5EF4-FFF2-40B4-BE49-F238E27FC236}">
                <a16:creationId xmlns:a16="http://schemas.microsoft.com/office/drawing/2014/main" id="{F7A7B938-BCFA-4316-8BA0-695C6C31C949}"/>
              </a:ext>
            </a:extLst>
          </p:cNvPr>
          <p:cNvPicPr>
            <a:picLocks noChangeAspect="1"/>
          </p:cNvPicPr>
          <p:nvPr/>
        </p:nvPicPr>
        <p:blipFill>
          <a:blip r:embed="rId13"/>
          <a:stretch>
            <a:fillRect/>
          </a:stretch>
        </p:blipFill>
        <p:spPr>
          <a:xfrm>
            <a:off x="6038263" y="8679270"/>
            <a:ext cx="594360" cy="594360"/>
          </a:xfrm>
          <a:prstGeom prst="rect">
            <a:avLst/>
          </a:prstGeom>
        </p:spPr>
      </p:pic>
      <p:pic>
        <p:nvPicPr>
          <p:cNvPr id="60" name="Picture 59">
            <a:extLst>
              <a:ext uri="{FF2B5EF4-FFF2-40B4-BE49-F238E27FC236}">
                <a16:creationId xmlns:a16="http://schemas.microsoft.com/office/drawing/2014/main" id="{793A6F65-F6CC-4064-8215-16D4252B2373}"/>
              </a:ext>
            </a:extLst>
          </p:cNvPr>
          <p:cNvPicPr>
            <a:picLocks noChangeAspect="1"/>
          </p:cNvPicPr>
          <p:nvPr/>
        </p:nvPicPr>
        <p:blipFill>
          <a:blip r:embed="rId14"/>
          <a:stretch>
            <a:fillRect/>
          </a:stretch>
        </p:blipFill>
        <p:spPr>
          <a:xfrm>
            <a:off x="1102518" y="8625463"/>
            <a:ext cx="492849" cy="831434"/>
          </a:xfrm>
          <a:prstGeom prst="rect">
            <a:avLst/>
          </a:prstGeom>
        </p:spPr>
      </p:pic>
      <p:pic>
        <p:nvPicPr>
          <p:cNvPr id="61" name="Picture 60">
            <a:extLst>
              <a:ext uri="{FF2B5EF4-FFF2-40B4-BE49-F238E27FC236}">
                <a16:creationId xmlns:a16="http://schemas.microsoft.com/office/drawing/2014/main" id="{DCF317C2-8411-4E87-804C-9E544D48DB81}"/>
              </a:ext>
            </a:extLst>
          </p:cNvPr>
          <p:cNvPicPr>
            <a:picLocks noChangeAspect="1"/>
          </p:cNvPicPr>
          <p:nvPr/>
        </p:nvPicPr>
        <p:blipFill>
          <a:blip r:embed="rId15"/>
          <a:stretch>
            <a:fillRect/>
          </a:stretch>
        </p:blipFill>
        <p:spPr>
          <a:xfrm>
            <a:off x="3532005" y="8667499"/>
            <a:ext cx="593377" cy="594360"/>
          </a:xfrm>
          <a:prstGeom prst="rect">
            <a:avLst/>
          </a:prstGeom>
        </p:spPr>
      </p:pic>
    </p:spTree>
    <p:extLst>
      <p:ext uri="{BB962C8B-B14F-4D97-AF65-F5344CB8AC3E}">
        <p14:creationId xmlns:p14="http://schemas.microsoft.com/office/powerpoint/2010/main" val="361878502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2300510D-397C-49DD-9DAB-2AA87F103587}"/>
</file>

<file path=customXml/itemProps2.xml><?xml version="1.0" encoding="utf-8"?>
<ds:datastoreItem xmlns:ds="http://schemas.openxmlformats.org/officeDocument/2006/customXml" ds:itemID="{94866A8F-5900-4C31-84DB-6148C6377477}">
  <ds:schemaRefs>
    <ds:schemaRef ds:uri="http://schemas.microsoft.com/sharepoint/v3/contenttype/forms"/>
  </ds:schemaRefs>
</ds:datastoreItem>
</file>

<file path=customXml/itemProps3.xml><?xml version="1.0" encoding="utf-8"?>
<ds:datastoreItem xmlns:ds="http://schemas.openxmlformats.org/officeDocument/2006/customXml" ds:itemID="{7F3BC782-4A06-498C-B87A-774AF2CF606D}">
  <ds:schemaRefs>
    <ds:schemaRef ds:uri="http://schemas.microsoft.com/office/2006/documentManagement/types"/>
    <ds:schemaRef ds:uri="http://schemas.microsoft.com/office/2006/metadata/properties"/>
    <ds:schemaRef ds:uri="0c1a6c9c-f016-4857-bf43-21b252e701d9"/>
    <ds:schemaRef ds:uri="http://purl.org/dc/elements/1.1/"/>
    <ds:schemaRef ds:uri="7a20bb1a-2526-436b-a0aa-406322af6dcc"/>
    <ds:schemaRef ds:uri="http://schemas.openxmlformats.org/package/2006/metadata/core-properties"/>
    <ds:schemaRef ds:uri="http://purl.org/dc/term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2472</TotalTime>
  <Words>172</Words>
  <Application>Microsoft Office PowerPoint</Application>
  <PresentationFormat>Custom</PresentationFormat>
  <Paragraphs>14</Paragraphs>
  <Slides>1</Slides>
  <Notes>1</Notes>
  <HiddenSlides>0</HiddenSlides>
  <MMClips>0</MMClip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White Template</vt:lpstr>
      <vt:lpstr>PowerPoint Presentation</vt:lpstr>
    </vt:vector>
  </TitlesOfParts>
  <Company>Cinco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rie Solomon</dc:creator>
  <cp:lastModifiedBy>Acclaro Thailand Notebook02</cp:lastModifiedBy>
  <cp:revision>1598</cp:revision>
  <cp:lastPrinted>2013-10-01T16:28:23Z</cp:lastPrinted>
  <dcterms:created xsi:type="dcterms:W3CDTF">2020-06-11T17:21:48Z</dcterms:created>
  <dcterms:modified xsi:type="dcterms:W3CDTF">2020-07-29T23:1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2C28266A38B74BB8736D79589A967D</vt:lpwstr>
  </property>
  <property fmtid="{D5CDD505-2E9C-101B-9397-08002B2CF9AE}" pid="3" name="Order">
    <vt:r8>525800</vt:r8>
  </property>
  <property fmtid="{D5CDD505-2E9C-101B-9397-08002B2CF9AE}" pid="4" name="xd_Signature">
    <vt:bool>false</vt:bool>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TemplateUrl">
    <vt:lpwstr/>
  </property>
  <property fmtid="{D5CDD505-2E9C-101B-9397-08002B2CF9AE}" pid="9" name="ComplianceAssetId">
    <vt:lpwstr/>
  </property>
</Properties>
</file>